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7.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933" r:id="rId3"/>
    <p:sldMasterId id="2147483943" r:id="rId4"/>
    <p:sldMasterId id="2147484025" r:id="rId5"/>
    <p:sldMasterId id="2147484061" r:id="rId6"/>
    <p:sldMasterId id="2147484084" r:id="rId7"/>
    <p:sldMasterId id="2147484125" r:id="rId8"/>
  </p:sldMasterIdLst>
  <p:notesMasterIdLst>
    <p:notesMasterId r:id="rId29"/>
  </p:notesMasterIdLst>
  <p:sldIdLst>
    <p:sldId id="1997" r:id="rId9"/>
    <p:sldId id="2147483488" r:id="rId10"/>
    <p:sldId id="2147483248" r:id="rId11"/>
    <p:sldId id="2147483603" r:id="rId12"/>
    <p:sldId id="2147483257" r:id="rId13"/>
    <p:sldId id="2147483260" r:id="rId14"/>
    <p:sldId id="2147483258" r:id="rId15"/>
    <p:sldId id="2147483259" r:id="rId16"/>
    <p:sldId id="2147483616" r:id="rId17"/>
    <p:sldId id="2147483617" r:id="rId18"/>
    <p:sldId id="2147483621" r:id="rId19"/>
    <p:sldId id="2147483622" r:id="rId20"/>
    <p:sldId id="2147483618" r:id="rId21"/>
    <p:sldId id="2147483620" r:id="rId22"/>
    <p:sldId id="2147483486" r:id="rId23"/>
    <p:sldId id="1427" r:id="rId24"/>
    <p:sldId id="2147483489" r:id="rId25"/>
    <p:sldId id="2147483490" r:id="rId26"/>
    <p:sldId id="2147483619" r:id="rId27"/>
    <p:sldId id="141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49B213-14B3-E6D5-D328-A315252DAE59}" name="Arne van der Wissel" initials="AW" userId="S::arvand@microsoft.com::885d6c57-8a60-4b11-9836-f8d7157f4f5a" providerId="AD"/>
  <p188:author id="{4A4B514F-5600-BE62-FCB9-CDA6B055DD0C}" name="Gozde Sayin" initials="GS" userId="S::gozdes@microsoft.com::00ff7fb1-6299-4f97-aec5-b5b2bdd4b944" providerId="AD"/>
  <p188:author id="{A52300B9-6F13-762C-C3CD-F3A2A8BF8474}" name="Haaften, Andre van" initials="AH" userId="S::Andre.van.Haaften@schiphol.nl::24bdab7c-121d-4f1a-a82f-27c0df578a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3A59"/>
    <a:srgbClr val="3C649A"/>
    <a:srgbClr val="FFC000"/>
    <a:srgbClr val="00B050"/>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1116" y="31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microsoft.com/office/2018/10/relationships/authors" Target="author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A9B49-8DA5-4490-91DC-3730C977819B}" type="datetimeFigureOut">
              <a:rPr lang="en-US" smtClean="0"/>
              <a:t>1/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054D25-4211-454E-B354-1B2E5585A068}" type="slidenum">
              <a:rPr lang="en-US" smtClean="0"/>
              <a:t>‹#›</a:t>
            </a:fld>
            <a:endParaRPr lang="en-US"/>
          </a:p>
        </p:txBody>
      </p:sp>
    </p:spTree>
    <p:extLst>
      <p:ext uri="{BB962C8B-B14F-4D97-AF65-F5344CB8AC3E}">
        <p14:creationId xmlns:p14="http://schemas.microsoft.com/office/powerpoint/2010/main" val="247910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5:2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745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9FB82-23D0-77A5-FE67-274A5579A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97BBF-4663-A6C2-EAAA-028B1DC835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55A85-8196-B433-BF0E-8D9E8311A1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B65205-088C-0499-3405-9CC45C0D9D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231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F418B-B50B-D020-E11D-6024A28F65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B63ADB-C382-2749-2939-F006C33830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FC923E-1873-FB28-30CF-5B45A16D55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294BF8-0117-1654-DA9C-766D350CDA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445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EFDC7-21BF-0305-8099-B473AC46DD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A207A3-863F-3622-2A51-4586BD36FF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92277F-C0C7-91DE-AE83-6FE5002CF4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EC3C28-2CBC-4D64-434A-19A72F1202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180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2FF36C-962F-AE2C-CDAB-86CB5CCC3C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9CFFF-2CE2-22CE-0B28-313D0777D0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319F5E-894C-FBE0-DE44-AA34ED05FA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73D5A6-8D9E-2F11-8C19-2DCD183AD19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39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9017-96B2-0112-A6A0-7B3F6919A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66A6ED-5913-9942-A029-317CC1581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F9F81-7816-6C29-CC52-C679F57EAAC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45FCCC8-9CD5-B523-EBF6-6F2576EF2A79}"/>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B70EF03-C2D2-EB96-A7BF-9AF3C809CBF4}"/>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0AAAEA9-55A3-8909-DFFD-F3A68724E1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5:2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D82B147-6E86-195F-215B-526641A58CC4}"/>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4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1316005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4155592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L"/>
          </a:p>
        </p:txBody>
      </p:sp>
    </p:spTree>
    <p:extLst>
      <p:ext uri="{BB962C8B-B14F-4D97-AF65-F5344CB8AC3E}">
        <p14:creationId xmlns:p14="http://schemas.microsoft.com/office/powerpoint/2010/main" val="2938576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B054D25-4211-454E-B354-1B2E5585A068}" type="slidenum">
              <a:rPr lang="en-US" smtClean="0"/>
              <a:t>11</a:t>
            </a:fld>
            <a:endParaRPr lang="en-US"/>
          </a:p>
        </p:txBody>
      </p:sp>
    </p:spTree>
    <p:extLst>
      <p:ext uri="{BB962C8B-B14F-4D97-AF65-F5344CB8AC3E}">
        <p14:creationId xmlns:p14="http://schemas.microsoft.com/office/powerpoint/2010/main" val="177747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D4C07-7C8D-E064-57EE-6840D4261A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55CE0F-1BF0-C748-420F-A6B288995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D1DAD1-ED7F-BB7F-4849-D1A6FD435234}"/>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168FEE7D-0CD5-4AE2-A7BF-9A28AB8BC778}"/>
              </a:ext>
            </a:extLst>
          </p:cNvPr>
          <p:cNvSpPr>
            <a:spLocks noGrp="1"/>
          </p:cNvSpPr>
          <p:nvPr>
            <p:ph type="sldNum" sz="quarter" idx="5"/>
          </p:nvPr>
        </p:nvSpPr>
        <p:spPr/>
        <p:txBody>
          <a:bodyPr/>
          <a:lstStyle/>
          <a:p>
            <a:fld id="{BB054D25-4211-454E-B354-1B2E5585A068}" type="slidenum">
              <a:rPr lang="en-US" smtClean="0"/>
              <a:t>12</a:t>
            </a:fld>
            <a:endParaRPr lang="en-US"/>
          </a:p>
        </p:txBody>
      </p:sp>
    </p:spTree>
    <p:extLst>
      <p:ext uri="{BB962C8B-B14F-4D97-AF65-F5344CB8AC3E}">
        <p14:creationId xmlns:p14="http://schemas.microsoft.com/office/powerpoint/2010/main" val="189489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32F76-56C1-7415-09E2-4A4C7292C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0089F-924F-2307-1D15-FCD3FD9E56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D3A01C-41F0-4A13-D9DB-74C925881D0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BF2DEE5-5B4A-7DF7-FBC0-A0A6396449C7}"/>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9F6BCD9-334A-6231-C219-06942CFE313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AAE2AAF6-DF75-39AF-77B9-2B59DAE519A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5 5:2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6767036-956A-A41F-9227-5AE473348831}"/>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636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5B08D-83B4-195C-E474-E2019EBF49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ECC0B1-DFDA-B7AF-8990-3D56124B41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420DDD-62B5-8CCD-9AD7-D813467F0CF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5A1265-4CEC-0EB6-32B7-B93D59DFAE5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764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2.emf"/><Relationship Id="rId1" Type="http://schemas.openxmlformats.org/officeDocument/2006/relationships/slideMaster" Target="../slideMasters/slideMaster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 Id="rId9" Type="http://schemas.openxmlformats.org/officeDocument/2006/relationships/image" Target="../media/image60.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72.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8.xml"/><Relationship Id="rId4" Type="http://schemas.openxmlformats.org/officeDocument/2006/relationships/image" Target="../media/image38.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4" Type="http://schemas.openxmlformats.org/officeDocument/2006/relationships/image" Target="../media/image32.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8.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8.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7102-4643-63FE-7588-CB5F8CB0CA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56F4FE-B446-DA4E-CF0B-802C3914C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CB9F70-0096-D783-F533-5EC4054A6657}"/>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2B59C634-C02F-6A7E-146C-A99BB3C07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1903C-3293-38D9-9F41-3E2E6413528C}"/>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710863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28912-D450-E3CF-C28A-966CFEB66A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B2EB8E-FE07-2604-B053-1B6192997F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4D884D-7740-053A-A138-1B8D399E068C}"/>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91B8A0F6-F04C-636C-2B2A-69645AFC7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C8549-18CC-7DDF-E4B0-8F108C17ECA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4620451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70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397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0861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91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883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48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71932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452875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
        <p:nvSpPr>
          <p:cNvPr id="4" name="Oval 3">
            <a:extLst>
              <a:ext uri="{FF2B5EF4-FFF2-40B4-BE49-F238E27FC236}">
                <a16:creationId xmlns:a16="http://schemas.microsoft.com/office/drawing/2014/main" id="{4514C9C7-25B3-F4C1-0666-FDFA7B491687}"/>
              </a:ext>
            </a:extLst>
          </p:cNvPr>
          <p:cNvSpPr/>
          <p:nvPr userDrawn="1"/>
        </p:nvSpPr>
        <p:spPr bwMode="auto">
          <a:xfrm>
            <a:off x="9089231" y="3994941"/>
            <a:ext cx="914400" cy="6310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8926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38297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362EEF-DF93-6B6D-1409-62AF1F5D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A14332-7DEA-C8A2-3DE9-8660981057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F81DE-9669-CA95-7B07-5A5BEC0D40F3}"/>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5F929E93-17CE-4874-4ACF-ADF9FC077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52357B-B84F-3138-5DAE-CB766D2FE3C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9917336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96239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43638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603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580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072162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2110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022440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384543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641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warehouse worker encircled by a flywheel graphic takes inventory on a tablet">
            <a:extLst>
              <a:ext uri="{FF2B5EF4-FFF2-40B4-BE49-F238E27FC236}">
                <a16:creationId xmlns:a16="http://schemas.microsoft.com/office/drawing/2014/main" id="{D4AB8FA3-F308-BB4B-A7DE-F717AA01480B}"/>
              </a:ext>
            </a:extLst>
          </p:cNvPr>
          <p:cNvPicPr>
            <a:picLocks/>
          </p:cNvPicPr>
          <p:nvPr userDrawn="1"/>
        </p:nvPicPr>
        <p:blipFill rotWithShape="1">
          <a:blip r:embed="rId3" cstate="print">
            <a:extLst>
              <a:ext uri="{28A0092B-C50C-407E-A947-70E740481C1C}">
                <a14:useLocalDpi xmlns:a14="http://schemas.microsoft.com/office/drawing/2010/main"/>
              </a:ext>
            </a:extLst>
          </a:blip>
          <a:srcRect/>
          <a:stretch/>
        </p:blipFill>
        <p:spPr>
          <a:xfrm flipH="1">
            <a:off x="5333998" y="0"/>
            <a:ext cx="6858001" cy="6858000"/>
          </a:xfrm>
          <a:prstGeom prst="rect">
            <a:avLst/>
          </a:prstGeom>
        </p:spPr>
      </p:pic>
    </p:spTree>
    <p:extLst>
      <p:ext uri="{BB962C8B-B14F-4D97-AF65-F5344CB8AC3E}">
        <p14:creationId xmlns:p14="http://schemas.microsoft.com/office/powerpoint/2010/main" val="95604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age">
    <p:spTree>
      <p:nvGrpSpPr>
        <p:cNvPr id="1" name=""/>
        <p:cNvGrpSpPr/>
        <p:nvPr/>
      </p:nvGrpSpPr>
      <p:grpSpPr>
        <a:xfrm>
          <a:off x="0" y="0"/>
          <a:ext cx="0" cy="0"/>
          <a:chOff x="0" y="0"/>
          <a:chExt cx="0" cy="0"/>
        </a:xfrm>
      </p:grpSpPr>
      <p:pic>
        <p:nvPicPr>
          <p:cNvPr id="6" name="Picture 10" descr="white windmills on green grass field under white clouds and blue sky">
            <a:extLst>
              <a:ext uri="{FF2B5EF4-FFF2-40B4-BE49-F238E27FC236}">
                <a16:creationId xmlns:a16="http://schemas.microsoft.com/office/drawing/2014/main" id="{101A0DA9-3F71-436A-819A-ADBB4A6991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14" r="3929"/>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AAD6D7AF-D27B-4035-AEBF-F443DB77D791}"/>
              </a:ext>
            </a:extLst>
          </p:cNvPr>
          <p:cNvSpPr>
            <a:spLocks noGrp="1"/>
          </p:cNvSpPr>
          <p:nvPr>
            <p:ph type="title"/>
          </p:nvPr>
        </p:nvSpPr>
        <p:spPr>
          <a:xfrm>
            <a:off x="406800" y="3866399"/>
            <a:ext cx="8749900" cy="820800"/>
          </a:xfrm>
          <a:solidFill>
            <a:schemeClr val="bg1">
              <a:alpha val="90000"/>
            </a:schemeClr>
          </a:solidFill>
        </p:spPr>
        <p:txBody>
          <a:bodyPr vert="horz" lIns="108000" tIns="0" rIns="108000" bIns="0" rtlCol="0" anchor="ctr" anchorCtr="0">
            <a:noAutofit/>
          </a:bodyPr>
          <a:lstStyle>
            <a:lvl1pPr>
              <a:defRPr lang="en-GB" b="1" dirty="0"/>
            </a:lvl1pPr>
          </a:lstStyle>
          <a:p>
            <a:pPr lvl="0">
              <a:spcBef>
                <a:spcPts val="600"/>
              </a:spcBef>
            </a:pPr>
            <a:r>
              <a:rPr lang="en-US"/>
              <a:t>Click to edit Master title style</a:t>
            </a:r>
            <a:endParaRPr lang="en-GB"/>
          </a:p>
        </p:txBody>
      </p:sp>
      <p:sp>
        <p:nvSpPr>
          <p:cNvPr id="8" name="Subtitle 2">
            <a:extLst>
              <a:ext uri="{FF2B5EF4-FFF2-40B4-BE49-F238E27FC236}">
                <a16:creationId xmlns:a16="http://schemas.microsoft.com/office/drawing/2014/main" id="{DEDD0248-2314-43D8-86E4-80B0A9EDD002}"/>
              </a:ext>
            </a:extLst>
          </p:cNvPr>
          <p:cNvSpPr>
            <a:spLocks noGrp="1"/>
          </p:cNvSpPr>
          <p:nvPr>
            <p:ph type="subTitle" idx="1"/>
          </p:nvPr>
        </p:nvSpPr>
        <p:spPr>
          <a:xfrm>
            <a:off x="406800" y="4777200"/>
            <a:ext cx="4859338" cy="446400"/>
          </a:xfrm>
          <a:prstGeom prst="rect">
            <a:avLst/>
          </a:prstGeom>
          <a:solidFill>
            <a:schemeClr val="accent1">
              <a:alpha val="90000"/>
            </a:schemeClr>
          </a:solidFill>
        </p:spPr>
        <p:txBody>
          <a:bodyPr vert="horz" lIns="108000" tIns="0" rIns="108000" bIns="0" rtlCol="0" anchor="ctr" anchorCtr="0">
            <a:noAutofit/>
          </a:bodyPr>
          <a:lstStyle>
            <a:lvl1pPr marL="0" indent="0">
              <a:buNone/>
              <a:defRPr lang="nl-NL" sz="1600" dirty="0">
                <a:solidFill>
                  <a:schemeClr val="bg1"/>
                </a:solidFill>
                <a:latin typeface="+mn-lt"/>
              </a:defRPr>
            </a:lvl1pPr>
          </a:lstStyle>
          <a:p>
            <a:pPr marL="263525" lvl="0" indent="-263525"/>
            <a:r>
              <a:rPr lang="en-US"/>
              <a:t>Click to edit Master subtitle style</a:t>
            </a:r>
            <a:endParaRPr lang="nl-NL"/>
          </a:p>
        </p:txBody>
      </p:sp>
      <p:sp>
        <p:nvSpPr>
          <p:cNvPr id="10" name="Tijdelijke aanduiding voor inhoud 12">
            <a:extLst>
              <a:ext uri="{FF2B5EF4-FFF2-40B4-BE49-F238E27FC236}">
                <a16:creationId xmlns:a16="http://schemas.microsoft.com/office/drawing/2014/main" id="{B1BE9E84-3215-4768-A438-A6486D0E0C22}"/>
              </a:ext>
            </a:extLst>
          </p:cNvPr>
          <p:cNvSpPr>
            <a:spLocks noGrp="1"/>
          </p:cNvSpPr>
          <p:nvPr>
            <p:ph sz="quarter" idx="14" hasCustomPrompt="1"/>
          </p:nvPr>
        </p:nvSpPr>
        <p:spPr>
          <a:xfrm>
            <a:off x="406800" y="5628015"/>
            <a:ext cx="1578127" cy="564609"/>
          </a:xfrm>
          <a:prstGeom prst="rect">
            <a:avLst/>
          </a:prstGeom>
        </p:spPr>
        <p:txBody>
          <a:bodyPr vert="horz" lIns="108000" tIns="0" rIns="108000" bIns="0" rtlCol="0">
            <a:noAutofit/>
          </a:bodyPr>
          <a:lstStyle>
            <a:lvl1pPr marL="0" indent="0">
              <a:buNone/>
              <a:defRPr lang="en-US" sz="1200" dirty="0" smtClean="0">
                <a:solidFill>
                  <a:schemeClr val="bg1"/>
                </a:solidFill>
                <a:latin typeface="+mn-lt"/>
              </a:defRPr>
            </a:lvl1pPr>
            <a:lvl2pPr>
              <a:defRPr lang="en-US" dirty="0" smtClean="0">
                <a:latin typeface="+mj-lt"/>
              </a:defRPr>
            </a:lvl2pPr>
            <a:lvl3pPr>
              <a:defRPr lang="en-US" dirty="0" smtClean="0">
                <a:latin typeface="+mj-lt"/>
              </a:defRPr>
            </a:lvl3pPr>
            <a:lvl4pPr>
              <a:defRPr lang="en-US" dirty="0" smtClean="0">
                <a:latin typeface="+mj-lt"/>
              </a:defRPr>
            </a:lvl4pPr>
            <a:lvl5pPr>
              <a:defRPr lang="en-US" dirty="0">
                <a:latin typeface="+mj-lt"/>
              </a:defRPr>
            </a:lvl5pPr>
          </a:lstStyle>
          <a:p>
            <a:pPr lvl="0"/>
            <a:r>
              <a:rPr lang="en-US"/>
              <a:t>&lt;draft/final&gt;</a:t>
            </a:r>
          </a:p>
          <a:p>
            <a:pPr lvl="0"/>
            <a:r>
              <a:rPr lang="nl-NL"/>
              <a:t>&lt;</a:t>
            </a:r>
            <a:r>
              <a:rPr lang="en-US"/>
              <a:t>date&gt;</a:t>
            </a:r>
          </a:p>
          <a:p>
            <a:pPr lvl="0"/>
            <a:endParaRPr lang="en-US"/>
          </a:p>
        </p:txBody>
      </p:sp>
    </p:spTree>
    <p:extLst>
      <p:ext uri="{BB962C8B-B14F-4D97-AF65-F5344CB8AC3E}">
        <p14:creationId xmlns:p14="http://schemas.microsoft.com/office/powerpoint/2010/main" val="14001261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Graphic 5">
            <a:extLst>
              <a:ext uri="{FF2B5EF4-FFF2-40B4-BE49-F238E27FC236}">
                <a16:creationId xmlns:a16="http://schemas.microsoft.com/office/drawing/2014/main" id="{EB4B374D-9902-F04A-8A2D-054AF586297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92424" y="-4591824"/>
            <a:ext cx="10430750" cy="10430750"/>
          </a:xfrm>
          <a:prstGeom prst="rect">
            <a:avLst/>
          </a:prstGeom>
        </p:spPr>
      </p:pic>
      <p:pic>
        <p:nvPicPr>
          <p:cNvPr id="8" name="Graphic 7">
            <a:extLst>
              <a:ext uri="{FF2B5EF4-FFF2-40B4-BE49-F238E27FC236}">
                <a16:creationId xmlns:a16="http://schemas.microsoft.com/office/drawing/2014/main" id="{218AE1B7-8AA1-4D46-ACC1-FE686965609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92424" y="-4591824"/>
            <a:ext cx="10430750" cy="10430750"/>
          </a:xfrm>
          <a:prstGeom prst="rect">
            <a:avLst/>
          </a:prstGeom>
        </p:spPr>
      </p:pic>
      <p:pic>
        <p:nvPicPr>
          <p:cNvPr id="10" name="Graphic 9">
            <a:extLst>
              <a:ext uri="{FF2B5EF4-FFF2-40B4-BE49-F238E27FC236}">
                <a16:creationId xmlns:a16="http://schemas.microsoft.com/office/drawing/2014/main" id="{CA214AA2-8626-4544-B757-8F54B894343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92424" y="-4591824"/>
            <a:ext cx="10430751" cy="10430751"/>
          </a:xfrm>
          <a:prstGeom prst="rect">
            <a:avLst/>
          </a:prstGeom>
        </p:spPr>
      </p:pic>
      <p:pic>
        <p:nvPicPr>
          <p:cNvPr id="11" name="Picture 10">
            <a:extLst>
              <a:ext uri="{FF2B5EF4-FFF2-40B4-BE49-F238E27FC236}">
                <a16:creationId xmlns:a16="http://schemas.microsoft.com/office/drawing/2014/main" id="{1633A567-698B-0B4B-8087-38DB642CF4EC}"/>
              </a:ext>
            </a:extLst>
          </p:cNvPr>
          <p:cNvPicPr>
            <a:picLocks noChangeAspect="1"/>
          </p:cNvPicPr>
          <p:nvPr userDrawn="1"/>
        </p:nvPicPr>
        <p:blipFill>
          <a:blip r:embed="rId9"/>
          <a:stretch>
            <a:fillRect/>
          </a:stretch>
        </p:blipFill>
        <p:spPr>
          <a:xfrm>
            <a:off x="7210543" y="-3765314"/>
            <a:ext cx="8794513" cy="8794513"/>
          </a:xfrm>
          <a:prstGeom prst="rect">
            <a:avLst/>
          </a:prstGeom>
        </p:spPr>
      </p:pic>
    </p:spTree>
    <p:extLst>
      <p:ext uri="{BB962C8B-B14F-4D97-AF65-F5344CB8AC3E}">
        <p14:creationId xmlns:p14="http://schemas.microsoft.com/office/powerpoint/2010/main" val="7869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6E4BC134-D027-3748-9D5F-B4BA6E172359}"/>
              </a:ext>
            </a:extLst>
          </p:cNvPr>
          <p:cNvPicPr>
            <a:picLocks noChangeAspect="1"/>
          </p:cNvPicPr>
          <p:nvPr userDrawn="1"/>
        </p:nvPicPr>
        <p:blipFill>
          <a:blip r:embed="rId3"/>
          <a:stretch>
            <a:fillRect/>
          </a:stretch>
        </p:blipFill>
        <p:spPr>
          <a:xfrm>
            <a:off x="9239003" y="-1780310"/>
            <a:ext cx="4619501" cy="4619501"/>
          </a:xfrm>
          <a:prstGeom prst="rect">
            <a:avLst/>
          </a:prstGeom>
        </p:spPr>
      </p:pic>
    </p:spTree>
    <p:extLst>
      <p:ext uri="{BB962C8B-B14F-4D97-AF65-F5344CB8AC3E}">
        <p14:creationId xmlns:p14="http://schemas.microsoft.com/office/powerpoint/2010/main" val="130551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26250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355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4437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3">
            <a:extLst>
              <a:ext uri="{FF2B5EF4-FFF2-40B4-BE49-F238E27FC236}">
                <a16:creationId xmlns:a16="http://schemas.microsoft.com/office/drawing/2014/main" id="{BD36A25F-7093-284B-BD0F-6BA484370107}"/>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0972BF82-3A81-2446-9B99-9CFCFF12321D}"/>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63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306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1775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mall title -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5" name="Text Placeholder 3">
            <a:extLst>
              <a:ext uri="{FF2B5EF4-FFF2-40B4-BE49-F238E27FC236}">
                <a16:creationId xmlns:a16="http://schemas.microsoft.com/office/drawing/2014/main" id="{D023F70D-7BF9-2748-9DC7-115D1D2B2D8B}"/>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549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mall title -4/5's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52"/>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9730408" y="1440818"/>
            <a:ext cx="2156791" cy="1772793"/>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8848035"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6220F67A-0C97-EC44-8FD6-128126A10C0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49000" y="-1143000"/>
            <a:ext cx="2286000" cy="2286000"/>
          </a:xfrm>
          <a:prstGeom prst="rect">
            <a:avLst/>
          </a:prstGeom>
        </p:spPr>
      </p:pic>
    </p:spTree>
    <p:extLst>
      <p:ext uri="{BB962C8B-B14F-4D97-AF65-F5344CB8AC3E}">
        <p14:creationId xmlns:p14="http://schemas.microsoft.com/office/powerpoint/2010/main" val="202311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 Secti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FBF0A03-C4F3-42BD-BDBB-5E2394B4507B}"/>
              </a:ext>
            </a:extLst>
          </p:cNvPr>
          <p:cNvSpPr>
            <a:spLocks noGrp="1"/>
          </p:cNvSpPr>
          <p:nvPr>
            <p:ph type="pic" sz="quarter" idx="12"/>
          </p:nvPr>
        </p:nvSpPr>
        <p:spPr>
          <a:xfrm>
            <a:off x="0" y="0"/>
            <a:ext cx="12192000" cy="6450013"/>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3" name="Slide Number Placeholder 2">
            <a:extLst>
              <a:ext uri="{FF2B5EF4-FFF2-40B4-BE49-F238E27FC236}">
                <a16:creationId xmlns:a16="http://schemas.microsoft.com/office/drawing/2014/main" id="{424890B4-D9B5-4541-B972-53927EAFE1CA}"/>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4" name="Footer Placeholder 3">
            <a:extLst>
              <a:ext uri="{FF2B5EF4-FFF2-40B4-BE49-F238E27FC236}">
                <a16:creationId xmlns:a16="http://schemas.microsoft.com/office/drawing/2014/main" id="{C048CF9B-721F-4238-A9B6-47C5483EB2F7}"/>
              </a:ext>
            </a:extLst>
          </p:cNvPr>
          <p:cNvSpPr>
            <a:spLocks noGrp="1"/>
          </p:cNvSpPr>
          <p:nvPr>
            <p:ph type="ftr" sz="quarter" idx="11"/>
          </p:nvPr>
        </p:nvSpPr>
        <p:spPr/>
        <p:txBody>
          <a:bodyPr/>
          <a:lstStyle/>
          <a:p>
            <a:endParaRPr lang="en-NL"/>
          </a:p>
        </p:txBody>
      </p:sp>
      <p:sp>
        <p:nvSpPr>
          <p:cNvPr id="18" name="Tijdelijke aanduiding voor tekst 24">
            <a:extLst>
              <a:ext uri="{FF2B5EF4-FFF2-40B4-BE49-F238E27FC236}">
                <a16:creationId xmlns:a16="http://schemas.microsoft.com/office/drawing/2014/main" id="{7EBA7211-C389-428B-A92D-4BE073C30D4B}"/>
              </a:ext>
            </a:extLst>
          </p:cNvPr>
          <p:cNvSpPr>
            <a:spLocks noGrp="1"/>
          </p:cNvSpPr>
          <p:nvPr>
            <p:ph type="body" sz="quarter" idx="13" hasCustomPrompt="1"/>
          </p:nvPr>
        </p:nvSpPr>
        <p:spPr>
          <a:xfrm>
            <a:off x="412475" y="155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19" name="Tijdelijke aanduiding voor tekst 24">
            <a:extLst>
              <a:ext uri="{FF2B5EF4-FFF2-40B4-BE49-F238E27FC236}">
                <a16:creationId xmlns:a16="http://schemas.microsoft.com/office/drawing/2014/main" id="{775320E7-2D9B-4BA5-B804-065BD78EF4F7}"/>
              </a:ext>
            </a:extLst>
          </p:cNvPr>
          <p:cNvSpPr>
            <a:spLocks noGrp="1"/>
          </p:cNvSpPr>
          <p:nvPr>
            <p:ph type="body" sz="quarter" idx="14" hasCustomPrompt="1"/>
          </p:nvPr>
        </p:nvSpPr>
        <p:spPr>
          <a:xfrm>
            <a:off x="412475" y="202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0" name="Tijdelijke aanduiding voor tekst 24">
            <a:extLst>
              <a:ext uri="{FF2B5EF4-FFF2-40B4-BE49-F238E27FC236}">
                <a16:creationId xmlns:a16="http://schemas.microsoft.com/office/drawing/2014/main" id="{67B5DB6E-4756-464E-B63F-B0B657465F18}"/>
              </a:ext>
            </a:extLst>
          </p:cNvPr>
          <p:cNvSpPr>
            <a:spLocks noGrp="1"/>
          </p:cNvSpPr>
          <p:nvPr>
            <p:ph type="body" sz="quarter" idx="15" hasCustomPrompt="1"/>
          </p:nvPr>
        </p:nvSpPr>
        <p:spPr>
          <a:xfrm>
            <a:off x="412475" y="249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1" name="Tijdelijke aanduiding voor tekst 24">
            <a:extLst>
              <a:ext uri="{FF2B5EF4-FFF2-40B4-BE49-F238E27FC236}">
                <a16:creationId xmlns:a16="http://schemas.microsoft.com/office/drawing/2014/main" id="{DB5AAAA7-4D01-44CC-858D-4E97EC95C7DA}"/>
              </a:ext>
            </a:extLst>
          </p:cNvPr>
          <p:cNvSpPr>
            <a:spLocks noGrp="1"/>
          </p:cNvSpPr>
          <p:nvPr>
            <p:ph type="body" sz="quarter" idx="16" hasCustomPrompt="1"/>
          </p:nvPr>
        </p:nvSpPr>
        <p:spPr>
          <a:xfrm>
            <a:off x="412475" y="296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2" name="Tijdelijke aanduiding voor tekst 24">
            <a:extLst>
              <a:ext uri="{FF2B5EF4-FFF2-40B4-BE49-F238E27FC236}">
                <a16:creationId xmlns:a16="http://schemas.microsoft.com/office/drawing/2014/main" id="{02DFBC6B-FB85-471A-A46A-DF69548A8151}"/>
              </a:ext>
            </a:extLst>
          </p:cNvPr>
          <p:cNvSpPr>
            <a:spLocks noGrp="1"/>
          </p:cNvSpPr>
          <p:nvPr>
            <p:ph type="body" sz="quarter" idx="17" hasCustomPrompt="1"/>
          </p:nvPr>
        </p:nvSpPr>
        <p:spPr>
          <a:xfrm>
            <a:off x="412475" y="342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3" name="Tijdelijke aanduiding voor tekst 24">
            <a:extLst>
              <a:ext uri="{FF2B5EF4-FFF2-40B4-BE49-F238E27FC236}">
                <a16:creationId xmlns:a16="http://schemas.microsoft.com/office/drawing/2014/main" id="{7750EB11-4F85-4B83-A227-E5AB813BD5DE}"/>
              </a:ext>
            </a:extLst>
          </p:cNvPr>
          <p:cNvSpPr>
            <a:spLocks noGrp="1"/>
          </p:cNvSpPr>
          <p:nvPr>
            <p:ph type="body" sz="quarter" idx="18" hasCustomPrompt="1"/>
          </p:nvPr>
        </p:nvSpPr>
        <p:spPr>
          <a:xfrm>
            <a:off x="412475" y="389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4" name="Tijdelijke aanduiding voor tekst 24">
            <a:extLst>
              <a:ext uri="{FF2B5EF4-FFF2-40B4-BE49-F238E27FC236}">
                <a16:creationId xmlns:a16="http://schemas.microsoft.com/office/drawing/2014/main" id="{005A6B4C-0AB0-4AD2-99A2-5C04A961CCB3}"/>
              </a:ext>
            </a:extLst>
          </p:cNvPr>
          <p:cNvSpPr>
            <a:spLocks noGrp="1"/>
          </p:cNvSpPr>
          <p:nvPr>
            <p:ph type="body" sz="quarter" idx="19" hasCustomPrompt="1"/>
          </p:nvPr>
        </p:nvSpPr>
        <p:spPr>
          <a:xfrm>
            <a:off x="412475" y="436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5" name="Tijdelijke aanduiding voor tekst 24">
            <a:extLst>
              <a:ext uri="{FF2B5EF4-FFF2-40B4-BE49-F238E27FC236}">
                <a16:creationId xmlns:a16="http://schemas.microsoft.com/office/drawing/2014/main" id="{0CCB7BB8-E814-445C-8B64-674258B1D491}"/>
              </a:ext>
            </a:extLst>
          </p:cNvPr>
          <p:cNvSpPr>
            <a:spLocks noGrp="1"/>
          </p:cNvSpPr>
          <p:nvPr>
            <p:ph type="body" sz="quarter" idx="20" hasCustomPrompt="1"/>
          </p:nvPr>
        </p:nvSpPr>
        <p:spPr>
          <a:xfrm>
            <a:off x="412475" y="483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6" name="Tijdelijke aanduiding voor tekst 24">
            <a:extLst>
              <a:ext uri="{FF2B5EF4-FFF2-40B4-BE49-F238E27FC236}">
                <a16:creationId xmlns:a16="http://schemas.microsoft.com/office/drawing/2014/main" id="{89DFB842-9668-476E-B24E-09C073A87D3D}"/>
              </a:ext>
            </a:extLst>
          </p:cNvPr>
          <p:cNvSpPr>
            <a:spLocks noGrp="1"/>
          </p:cNvSpPr>
          <p:nvPr>
            <p:ph type="body" sz="quarter" idx="21" hasCustomPrompt="1"/>
          </p:nvPr>
        </p:nvSpPr>
        <p:spPr>
          <a:xfrm>
            <a:off x="412475" y="530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7" name="Tijdelijke aanduiding voor tekst 24">
            <a:extLst>
              <a:ext uri="{FF2B5EF4-FFF2-40B4-BE49-F238E27FC236}">
                <a16:creationId xmlns:a16="http://schemas.microsoft.com/office/drawing/2014/main" id="{57C88C27-850B-4217-BF10-BE165E7F2629}"/>
              </a:ext>
            </a:extLst>
          </p:cNvPr>
          <p:cNvSpPr>
            <a:spLocks noGrp="1"/>
          </p:cNvSpPr>
          <p:nvPr>
            <p:ph type="body" sz="quarter" idx="22" hasCustomPrompt="1"/>
          </p:nvPr>
        </p:nvSpPr>
        <p:spPr>
          <a:xfrm>
            <a:off x="412474" y="5769288"/>
            <a:ext cx="4582800"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8" name="Tijdelijke aanduiding voor tekst 24">
            <a:extLst>
              <a:ext uri="{FF2B5EF4-FFF2-40B4-BE49-F238E27FC236}">
                <a16:creationId xmlns:a16="http://schemas.microsoft.com/office/drawing/2014/main" id="{EF2531FA-C79A-4F3E-BB30-4637B27AAB43}"/>
              </a:ext>
            </a:extLst>
          </p:cNvPr>
          <p:cNvSpPr>
            <a:spLocks noGrp="1"/>
          </p:cNvSpPr>
          <p:nvPr>
            <p:ph type="body" sz="quarter" idx="23" hasCustomPrompt="1"/>
          </p:nvPr>
        </p:nvSpPr>
        <p:spPr>
          <a:xfrm>
            <a:off x="412475" y="108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9" name="Tijdelijke aanduiding voor tekst 24">
            <a:extLst>
              <a:ext uri="{FF2B5EF4-FFF2-40B4-BE49-F238E27FC236}">
                <a16:creationId xmlns:a16="http://schemas.microsoft.com/office/drawing/2014/main" id="{C6F984AE-0F2C-43B7-B9F4-A006DC26E8C9}"/>
              </a:ext>
            </a:extLst>
          </p:cNvPr>
          <p:cNvSpPr>
            <a:spLocks noGrp="1"/>
          </p:cNvSpPr>
          <p:nvPr>
            <p:ph type="body" sz="quarter" idx="24" hasCustomPrompt="1"/>
          </p:nvPr>
        </p:nvSpPr>
        <p:spPr>
          <a:xfrm>
            <a:off x="412475" y="62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Tree>
    <p:extLst>
      <p:ext uri="{BB962C8B-B14F-4D97-AF65-F5344CB8AC3E}">
        <p14:creationId xmlns:p14="http://schemas.microsoft.com/office/powerpoint/2010/main" val="3449238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mall title -4/5's two row">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03"/>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11143974" cy="3673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0AFD3392-3D5B-45B4-A177-8CCF4621EABD}"/>
              </a:ext>
            </a:extLst>
          </p:cNvPr>
          <p:cNvSpPr>
            <a:spLocks noGrp="1"/>
          </p:cNvSpPr>
          <p:nvPr>
            <p:ph type="body" sz="quarter" idx="14"/>
          </p:nvPr>
        </p:nvSpPr>
        <p:spPr>
          <a:xfrm>
            <a:off x="584201" y="5268235"/>
            <a:ext cx="11143974" cy="1157240"/>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Tree>
    <p:extLst>
      <p:ext uri="{BB962C8B-B14F-4D97-AF65-F5344CB8AC3E}">
        <p14:creationId xmlns:p14="http://schemas.microsoft.com/office/powerpoint/2010/main" val="1952730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07777"/>
          </a:xfrm>
        </p:spPr>
        <p:txBody>
          <a:bodyPr/>
          <a:lstStyle>
            <a:lvl1pPr marL="0" indent="0">
              <a:buNone/>
              <a:defRPr sz="20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62492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380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07777"/>
          </a:xfrm>
        </p:spPr>
        <p:txBody>
          <a:bodyPr anchor="t"/>
          <a:lstStyle>
            <a:lvl1pPr>
              <a:defRPr sz="2000">
                <a:solidFill>
                  <a:schemeClr val="accent1"/>
                </a:solidFill>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755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2645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4868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1104900"/>
            <a:ext cx="3182027" cy="553998"/>
          </a:xfrm>
        </p:spPr>
        <p:txBody>
          <a:bodyPr anchor="t"/>
          <a:lstStyle>
            <a:lvl1pPr>
              <a:defRPr>
                <a:solidFill>
                  <a:schemeClr val="accent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0777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3981558" y="1104900"/>
            <a:ext cx="0" cy="5105895"/>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7C79FE09-4D69-F849-A19E-1A88B69B59AD}"/>
              </a:ext>
            </a:extLst>
          </p:cNvPr>
          <p:cNvPicPr>
            <a:picLocks noChangeAspect="1"/>
          </p:cNvPicPr>
          <p:nvPr userDrawn="1"/>
        </p:nvPicPr>
        <p:blipFill>
          <a:blip r:embed="rId2"/>
          <a:stretch>
            <a:fillRect/>
          </a:stretch>
        </p:blipFill>
        <p:spPr>
          <a:xfrm rot="19300881">
            <a:off x="9844702" y="-1301029"/>
            <a:ext cx="3615949" cy="3319199"/>
          </a:xfrm>
          <a:prstGeom prst="rect">
            <a:avLst/>
          </a:prstGeom>
        </p:spPr>
      </p:pic>
    </p:spTree>
    <p:extLst>
      <p:ext uri="{BB962C8B-B14F-4D97-AF65-F5344CB8AC3E}">
        <p14:creationId xmlns:p14="http://schemas.microsoft.com/office/powerpoint/2010/main" val="3646163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3524"/>
            <a:ext cx="6667500" cy="307777"/>
          </a:xfrm>
        </p:spPr>
        <p:txBody>
          <a:bodyPr anchor="ctr"/>
          <a:lstStyle>
            <a:lvl1pPr marL="0" indent="0">
              <a:buNone/>
              <a:defRPr>
                <a:solidFill>
                  <a:schemeClr val="bg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306E1A44-A850-F04F-83BD-0BCFC44C7DA2}"/>
              </a:ext>
            </a:extLst>
          </p:cNvPr>
          <p:cNvPicPr>
            <a:picLocks noChangeAspect="1"/>
          </p:cNvPicPr>
          <p:nvPr userDrawn="1"/>
        </p:nvPicPr>
        <p:blipFill>
          <a:blip r:embed="rId2"/>
          <a:stretch>
            <a:fillRect/>
          </a:stretch>
        </p:blipFill>
        <p:spPr>
          <a:xfrm rot="19300881">
            <a:off x="9074149" y="-1033307"/>
            <a:ext cx="4883907" cy="4483100"/>
          </a:xfrm>
          <a:prstGeom prst="rect">
            <a:avLst/>
          </a:prstGeom>
        </p:spPr>
      </p:pic>
    </p:spTree>
    <p:extLst>
      <p:ext uri="{BB962C8B-B14F-4D97-AF65-F5344CB8AC3E}">
        <p14:creationId xmlns:p14="http://schemas.microsoft.com/office/powerpoint/2010/main" val="1009311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4604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29D46906-F940-EC40-85A4-20F40A3917AB}"/>
              </a:ext>
            </a:extLst>
          </p:cNvPr>
          <p:cNvPicPr>
            <a:picLocks noChangeAspect="1"/>
          </p:cNvPicPr>
          <p:nvPr userDrawn="1"/>
        </p:nvPicPr>
        <p:blipFill>
          <a:blip r:embed="rId2"/>
          <a:stretch>
            <a:fillRect/>
          </a:stretch>
        </p:blipFill>
        <p:spPr>
          <a:xfrm rot="19300881">
            <a:off x="9074149" y="-1041400"/>
            <a:ext cx="4883907" cy="4483100"/>
          </a:xfrm>
          <a:prstGeom prst="rect">
            <a:avLst/>
          </a:prstGeom>
        </p:spPr>
      </p:pic>
    </p:spTree>
    <p:extLst>
      <p:ext uri="{BB962C8B-B14F-4D97-AF65-F5344CB8AC3E}">
        <p14:creationId xmlns:p14="http://schemas.microsoft.com/office/powerpoint/2010/main" val="25526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de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A55CBA-633A-4514-AB85-C9586E3E0982}"/>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5" name="Picture Placeholder 8">
            <a:extLst>
              <a:ext uri="{FF2B5EF4-FFF2-40B4-BE49-F238E27FC236}">
                <a16:creationId xmlns:a16="http://schemas.microsoft.com/office/drawing/2014/main" id="{FD73E08C-2F29-4311-880D-C8FAA5378ADD}"/>
              </a:ext>
            </a:extLst>
          </p:cNvPr>
          <p:cNvSpPr>
            <a:spLocks noGrp="1"/>
          </p:cNvSpPr>
          <p:nvPr>
            <p:ph type="pic" sz="quarter" idx="12"/>
          </p:nvPr>
        </p:nvSpPr>
        <p:spPr>
          <a:xfrm>
            <a:off x="0" y="0"/>
            <a:ext cx="4994276" cy="68580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11" name="Tijdelijke aanduiding voor tekst 6">
            <a:extLst>
              <a:ext uri="{FF2B5EF4-FFF2-40B4-BE49-F238E27FC236}">
                <a16:creationId xmlns:a16="http://schemas.microsoft.com/office/drawing/2014/main" id="{91B77164-CD8C-4DA6-8E18-AA0C9F4D5D22}"/>
              </a:ext>
            </a:extLst>
          </p:cNvPr>
          <p:cNvSpPr>
            <a:spLocks noGrp="1"/>
          </p:cNvSpPr>
          <p:nvPr>
            <p:ph type="body" sz="quarter" idx="13" hasCustomPrompt="1"/>
          </p:nvPr>
        </p:nvSpPr>
        <p:spPr>
          <a:xfrm>
            <a:off x="5255932" y="228600"/>
            <a:ext cx="6522925"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2" name="Titel 1">
            <a:extLst>
              <a:ext uri="{FF2B5EF4-FFF2-40B4-BE49-F238E27FC236}">
                <a16:creationId xmlns:a16="http://schemas.microsoft.com/office/drawing/2014/main" id="{BB0D861A-3FFC-471B-8020-FFEE311689C8}"/>
              </a:ext>
            </a:extLst>
          </p:cNvPr>
          <p:cNvSpPr>
            <a:spLocks noGrp="1"/>
          </p:cNvSpPr>
          <p:nvPr>
            <p:ph type="title" hasCustomPrompt="1"/>
          </p:nvPr>
        </p:nvSpPr>
        <p:spPr>
          <a:xfrm>
            <a:off x="5256213" y="550862"/>
            <a:ext cx="6523306"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cxnSp>
        <p:nvCxnSpPr>
          <p:cNvPr id="15" name="Straight Connector 14">
            <a:extLst>
              <a:ext uri="{FF2B5EF4-FFF2-40B4-BE49-F238E27FC236}">
                <a16:creationId xmlns:a16="http://schemas.microsoft.com/office/drawing/2014/main" id="{75A31D3E-F103-4BB4-A39E-D4D933F68EA9}"/>
              </a:ext>
            </a:extLst>
          </p:cNvPr>
          <p:cNvCxnSpPr>
            <a:cxnSpLocks/>
          </p:cNvCxnSpPr>
          <p:nvPr/>
        </p:nvCxnSpPr>
        <p:spPr>
          <a:xfrm>
            <a:off x="5256213" y="1447800"/>
            <a:ext cx="6523306" cy="0"/>
          </a:xfrm>
          <a:prstGeom prst="line">
            <a:avLst/>
          </a:prstGeom>
          <a:ln w="38100">
            <a:solidFill>
              <a:schemeClr val="accent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490746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ACEB3B23-0E65-F843-9559-AB99AF4ECBF5}"/>
              </a:ext>
            </a:extLst>
          </p:cNvPr>
          <p:cNvPicPr>
            <a:picLocks noChangeAspect="1"/>
          </p:cNvPicPr>
          <p:nvPr userDrawn="1"/>
        </p:nvPicPr>
        <p:blipFill>
          <a:blip r:embed="rId2"/>
          <a:stretch>
            <a:fillRect/>
          </a:stretch>
        </p:blipFill>
        <p:spPr>
          <a:xfrm>
            <a:off x="9166224" y="-1798215"/>
            <a:ext cx="4883151" cy="5054992"/>
          </a:xfrm>
          <a:prstGeom prst="rect">
            <a:avLst/>
          </a:prstGeom>
        </p:spPr>
      </p:pic>
    </p:spTree>
    <p:extLst>
      <p:ext uri="{BB962C8B-B14F-4D97-AF65-F5344CB8AC3E}">
        <p14:creationId xmlns:p14="http://schemas.microsoft.com/office/powerpoint/2010/main" val="277454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463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4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65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accent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a:extLst>
              <a:ext uri="{FF2B5EF4-FFF2-40B4-BE49-F238E27FC236}">
                <a16:creationId xmlns:a16="http://schemas.microsoft.com/office/drawing/2014/main" id="{0B76203A-22CE-5147-992B-961F04B2E88A}"/>
              </a:ext>
            </a:extLst>
          </p:cNvPr>
          <p:cNvPicPr>
            <a:picLocks noChangeAspect="1"/>
          </p:cNvPicPr>
          <p:nvPr userDrawn="1"/>
        </p:nvPicPr>
        <p:blipFill>
          <a:blip r:embed="rId3"/>
          <a:stretch>
            <a:fillRect/>
          </a:stretch>
        </p:blipFill>
        <p:spPr>
          <a:xfrm>
            <a:off x="8752115" y="-1565230"/>
            <a:ext cx="4852884" cy="4994230"/>
          </a:xfrm>
          <a:prstGeom prst="rect">
            <a:avLst/>
          </a:prstGeom>
        </p:spPr>
      </p:pic>
    </p:spTree>
    <p:extLst>
      <p:ext uri="{BB962C8B-B14F-4D97-AF65-F5344CB8AC3E}">
        <p14:creationId xmlns:p14="http://schemas.microsoft.com/office/powerpoint/2010/main" val="3936731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3860644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F67E6-3BB1-4239-B7A3-27BBDAE991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05D3A0-0107-4DB3-808D-65C81946AF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2BCD07-8C06-44B4-98F0-76790171C842}"/>
              </a:ext>
            </a:extLst>
          </p:cNvPr>
          <p:cNvSpPr>
            <a:spLocks noGrp="1"/>
          </p:cNvSpPr>
          <p:nvPr>
            <p:ph type="dt" sz="half" idx="10"/>
          </p:nvPr>
        </p:nvSpPr>
        <p:spPr/>
        <p:txBody>
          <a:bodyPr/>
          <a:lstStyle/>
          <a:p>
            <a:fld id="{0FC0BA2E-4AB0-4318-B126-B171E08D54DC}" type="datetime1">
              <a:rPr lang="en-US" smtClean="0"/>
              <a:t>1/27/2025</a:t>
            </a:fld>
            <a:endParaRPr lang="en-US"/>
          </a:p>
        </p:txBody>
      </p:sp>
      <p:sp>
        <p:nvSpPr>
          <p:cNvPr id="5" name="Footer Placeholder 4">
            <a:extLst>
              <a:ext uri="{FF2B5EF4-FFF2-40B4-BE49-F238E27FC236}">
                <a16:creationId xmlns:a16="http://schemas.microsoft.com/office/drawing/2014/main" id="{4238C86D-A085-4F6C-A670-399F25B82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280AF-403F-4A2C-91CF-610EE5D15369}"/>
              </a:ext>
            </a:extLst>
          </p:cNvPr>
          <p:cNvSpPr>
            <a:spLocks noGrp="1"/>
          </p:cNvSpPr>
          <p:nvPr>
            <p:ph type="sldNum" sz="quarter" idx="12"/>
          </p:nvPr>
        </p:nvSpPr>
        <p:spPr/>
        <p:txBody>
          <a:bodyPr/>
          <a:lstStyle/>
          <a:p>
            <a:fld id="{F8C572F8-9CA7-420E-B199-53ECBEC5BA38}" type="slidenum">
              <a:rPr lang="en-US" smtClean="0"/>
              <a:t>‹#›</a:t>
            </a:fld>
            <a:endParaRPr lang="en-US"/>
          </a:p>
        </p:txBody>
      </p:sp>
    </p:spTree>
    <p:extLst>
      <p:ext uri="{BB962C8B-B14F-4D97-AF65-F5344CB8AC3E}">
        <p14:creationId xmlns:p14="http://schemas.microsoft.com/office/powerpoint/2010/main" val="21870573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1720010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4753450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6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lgn="l" rtl="0" eaLnBrk="1" fontAlgn="base" hangingPunct="1">
              <a:lnSpc>
                <a:spcPct val="90000"/>
              </a:lnSpc>
              <a:spcBef>
                <a:spcPct val="0"/>
              </a:spcBef>
              <a:spcAft>
                <a:spcPct val="0"/>
              </a:spcAft>
              <a:defRPr lang="en-US" sz="2400" b="0" kern="1200" spc="0" baseline="0" dirty="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Tree>
    <p:extLst>
      <p:ext uri="{BB962C8B-B14F-4D97-AF65-F5344CB8AC3E}">
        <p14:creationId xmlns:p14="http://schemas.microsoft.com/office/powerpoint/2010/main" val="3453138455"/>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6667675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76821DCC-D00A-2447-BC1F-F99E6E2A38BD}" type="datetimeFigureOut">
              <a:rPr lang="en-US" smtClean="0"/>
              <a:t>1/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704562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76821DCC-D00A-2447-BC1F-F99E6E2A38BD}" type="datetimeFigureOut">
              <a:rPr lang="en-US" smtClean="0"/>
              <a:t>1/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6877360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821DCC-D00A-2447-BC1F-F99E6E2A38BD}" type="datetimeFigureOut">
              <a:rPr lang="en-US" smtClean="0"/>
              <a:t>1/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4034625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7650790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573453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8050573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6113701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7660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8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93ECE24E-DFB3-4B39-BE59-E16243F52784}"/>
              </a:ext>
            </a:extLst>
          </p:cNvPr>
          <p:cNvSpPr>
            <a:spLocks noGrp="1"/>
          </p:cNvSpPr>
          <p:nvPr>
            <p:ph type="pic" sz="quarter" idx="16" hasCustomPrompt="1"/>
          </p:nvPr>
        </p:nvSpPr>
        <p:spPr>
          <a:xfrm>
            <a:off x="374755" y="378501"/>
            <a:ext cx="4646951" cy="6100997"/>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274123426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11379200"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1913582"/>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1734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1345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03332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331" name="Picture Placeholder 330"/>
          <p:cNvSpPr>
            <a:spLocks noGrp="1"/>
          </p:cNvSpPr>
          <p:nvPr>
            <p:ph type="pic" sz="quarter" idx="10" hasCustomPrompt="1"/>
          </p:nvPr>
        </p:nvSpPr>
        <p:spPr>
          <a:xfrm>
            <a:off x="0" y="0"/>
            <a:ext cx="12192000" cy="6858000"/>
          </a:xfrm>
          <a:prstGeom prst="rect">
            <a:avLst/>
          </a:prstGeom>
          <a:pattFill prst="pct5">
            <a:fgClr>
              <a:schemeClr val="accent1"/>
            </a:fgClr>
            <a:bgClr>
              <a:schemeClr val="bg1"/>
            </a:bgClr>
          </a:pattFill>
        </p:spPr>
        <p:txBody>
          <a:bodyPr/>
          <a:lstStyle>
            <a:lvl1pPr marL="0" indent="0">
              <a:buNone/>
              <a:defRPr sz="1800"/>
            </a:lvl1pPr>
          </a:lstStyle>
          <a:p>
            <a:r>
              <a:rPr lang="en-CA"/>
              <a:t>Picture</a:t>
            </a:r>
            <a:endParaRPr lang="fr-CA"/>
          </a:p>
        </p:txBody>
      </p:sp>
    </p:spTree>
    <p:extLst>
      <p:ext uri="{BB962C8B-B14F-4D97-AF65-F5344CB8AC3E}">
        <p14:creationId xmlns:p14="http://schemas.microsoft.com/office/powerpoint/2010/main" val="1172394137"/>
      </p:ext>
    </p:extLst>
  </p:cSld>
  <p:clrMapOvr>
    <a:masterClrMapping/>
  </p:clrMapOvr>
  <p:transition spd="slow">
    <p:push dir="u"/>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1458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84311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1CB022C-4F01-4310-82B6-1B0B61754E73}"/>
              </a:ext>
            </a:extLst>
          </p:cNvPr>
          <p:cNvSpPr>
            <a:spLocks noGrp="1"/>
          </p:cNvSpPr>
          <p:nvPr>
            <p:ph type="pic" sz="quarter" idx="11"/>
          </p:nvPr>
        </p:nvSpPr>
        <p:spPr>
          <a:xfrm>
            <a:off x="5668439" y="357414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
        <p:nvSpPr>
          <p:cNvPr id="10" name="Picture Placeholder 9">
            <a:extLst>
              <a:ext uri="{FF2B5EF4-FFF2-40B4-BE49-F238E27FC236}">
                <a16:creationId xmlns:a16="http://schemas.microsoft.com/office/drawing/2014/main" id="{B2774250-C2AA-40C6-81E5-4661F5CD7B9D}"/>
              </a:ext>
            </a:extLst>
          </p:cNvPr>
          <p:cNvSpPr>
            <a:spLocks noGrp="1"/>
          </p:cNvSpPr>
          <p:nvPr>
            <p:ph type="pic" sz="quarter" idx="10"/>
          </p:nvPr>
        </p:nvSpPr>
        <p:spPr>
          <a:xfrm>
            <a:off x="8400666" y="85471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Tree>
    <p:extLst>
      <p:ext uri="{BB962C8B-B14F-4D97-AF65-F5344CB8AC3E}">
        <p14:creationId xmlns:p14="http://schemas.microsoft.com/office/powerpoint/2010/main" val="3326194223"/>
      </p:ext>
    </p:extLst>
  </p:cSld>
  <p:clrMapOvr>
    <a:masterClrMapping/>
  </p:clrMapOvr>
  <p:transition spd="slow">
    <p:push dir="u"/>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63813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8963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607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2"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011214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5E862E9-C96F-4BB8-B81A-7ACFCDADF847}"/>
              </a:ext>
            </a:extLst>
          </p:cNvPr>
          <p:cNvSpPr>
            <a:spLocks noGrp="1"/>
          </p:cNvSpPr>
          <p:nvPr>
            <p:ph type="pic" sz="quarter" idx="12" hasCustomPrompt="1"/>
          </p:nvPr>
        </p:nvSpPr>
        <p:spPr>
          <a:xfrm>
            <a:off x="6548683"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B04A9E40-97E0-4E07-BE70-215E79C95758}"/>
              </a:ext>
            </a:extLst>
          </p:cNvPr>
          <p:cNvSpPr>
            <a:spLocks noGrp="1"/>
          </p:cNvSpPr>
          <p:nvPr>
            <p:ph type="pic" sz="quarter" idx="13" hasCustomPrompt="1"/>
          </p:nvPr>
        </p:nvSpPr>
        <p:spPr>
          <a:xfrm>
            <a:off x="3693441"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2B6D2D62-5BBE-48C1-A51A-91F8CFAC65F4}"/>
              </a:ext>
            </a:extLst>
          </p:cNvPr>
          <p:cNvSpPr>
            <a:spLocks noGrp="1"/>
          </p:cNvSpPr>
          <p:nvPr>
            <p:ph type="pic" sz="quarter" idx="11" hasCustomPrompt="1"/>
          </p:nvPr>
        </p:nvSpPr>
        <p:spPr>
          <a:xfrm>
            <a:off x="9430201"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7759947C-F31D-44DB-A732-11C3D2AED572}"/>
              </a:ext>
            </a:extLst>
          </p:cNvPr>
          <p:cNvSpPr>
            <a:spLocks noGrp="1"/>
          </p:cNvSpPr>
          <p:nvPr>
            <p:ph type="pic" sz="quarter" idx="10" hasCustomPrompt="1"/>
          </p:nvPr>
        </p:nvSpPr>
        <p:spPr>
          <a:xfrm>
            <a:off x="838200"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46720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1000" fill="hold"/>
                                        <p:tgtEl>
                                          <p:spTgt spid="11"/>
                                        </p:tgtEl>
                                        <p:attrNameLst>
                                          <p:attrName>ppt_w</p:attrName>
                                        </p:attrNameLst>
                                      </p:cBhvr>
                                      <p:tavLst>
                                        <p:tav tm="0">
                                          <p:val>
                                            <p:fltVal val="0"/>
                                          </p:val>
                                        </p:tav>
                                        <p:tav tm="100000">
                                          <p:val>
                                            <p:strVal val="#ppt_w"/>
                                          </p:val>
                                        </p:tav>
                                      </p:tavLst>
                                    </p:anim>
                                    <p:anim calcmode="lin" valueType="num">
                                      <p:cBhvr>
                                        <p:cTn id="13" dur="1000" fill="hold"/>
                                        <p:tgtEl>
                                          <p:spTgt spid="11"/>
                                        </p:tgtEl>
                                        <p:attrNameLst>
                                          <p:attrName>ppt_h</p:attrName>
                                        </p:attrNameLst>
                                      </p:cBhvr>
                                      <p:tavLst>
                                        <p:tav tm="0">
                                          <p:val>
                                            <p:fltVal val="0"/>
                                          </p:val>
                                        </p:tav>
                                        <p:tav tm="100000">
                                          <p:val>
                                            <p:strVal val="#ppt_h"/>
                                          </p:val>
                                        </p:tav>
                                      </p:tavLst>
                                    </p:anim>
                                    <p:animEffect transition="in" filter="fade">
                                      <p:cBhvr>
                                        <p:cTn id="14" dur="10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fltVal val="0"/>
                                          </p:val>
                                        </p:tav>
                                        <p:tav tm="100000">
                                          <p:val>
                                            <p:strVal val="#ppt_w"/>
                                          </p:val>
                                        </p:tav>
                                      </p:tavLst>
                                    </p:anim>
                                    <p:anim calcmode="lin" valueType="num">
                                      <p:cBhvr>
                                        <p:cTn id="18" dur="1000" fill="hold"/>
                                        <p:tgtEl>
                                          <p:spTgt spid="10"/>
                                        </p:tgtEl>
                                        <p:attrNameLst>
                                          <p:attrName>ppt_h</p:attrName>
                                        </p:attrNameLst>
                                      </p:cBhvr>
                                      <p:tavLst>
                                        <p:tav tm="0">
                                          <p:val>
                                            <p:fltVal val="0"/>
                                          </p:val>
                                        </p:tav>
                                        <p:tav tm="100000">
                                          <p:val>
                                            <p:strVal val="#ppt_h"/>
                                          </p:val>
                                        </p:tav>
                                      </p:tavLst>
                                    </p:anim>
                                    <p:animEffect transition="in" filter="fade">
                                      <p:cBhvr>
                                        <p:cTn id="19" dur="10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1000" fill="hold"/>
                                        <p:tgtEl>
                                          <p:spTgt spid="9"/>
                                        </p:tgtEl>
                                        <p:attrNameLst>
                                          <p:attrName>ppt_w</p:attrName>
                                        </p:attrNameLst>
                                      </p:cBhvr>
                                      <p:tavLst>
                                        <p:tav tm="0">
                                          <p:val>
                                            <p:fltVal val="0"/>
                                          </p:val>
                                        </p:tav>
                                        <p:tav tm="100000">
                                          <p:val>
                                            <p:strVal val="#ppt_w"/>
                                          </p:val>
                                        </p:tav>
                                      </p:tavLst>
                                    </p:anim>
                                    <p:anim calcmode="lin" valueType="num">
                                      <p:cBhvr>
                                        <p:cTn id="23" dur="1000" fill="hold"/>
                                        <p:tgtEl>
                                          <p:spTgt spid="9"/>
                                        </p:tgtEl>
                                        <p:attrNameLst>
                                          <p:attrName>ppt_h</p:attrName>
                                        </p:attrNameLst>
                                      </p:cBhvr>
                                      <p:tavLst>
                                        <p:tav tm="0">
                                          <p:val>
                                            <p:fltVal val="0"/>
                                          </p:val>
                                        </p:tav>
                                        <p:tav tm="100000">
                                          <p:val>
                                            <p:strVal val="#ppt_h"/>
                                          </p:val>
                                        </p:tav>
                                      </p:tavLst>
                                    </p:anim>
                                    <p:animEffect transition="in" filter="fade">
                                      <p:cBhvr>
                                        <p:cTn id="2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9" grpId="0" animBg="1"/>
      <p:bldP spid="8" grpId="0" animBg="1"/>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 name="Picture Placeholder 2">
            <a:extLst>
              <a:ext uri="{FF2B5EF4-FFF2-40B4-BE49-F238E27FC236}">
                <a16:creationId xmlns:a16="http://schemas.microsoft.com/office/drawing/2014/main" id="{ED3F7208-5D61-41D8-8434-F44052D66FC6}"/>
              </a:ext>
            </a:extLst>
          </p:cNvPr>
          <p:cNvSpPr>
            <a:spLocks noGrp="1"/>
          </p:cNvSpPr>
          <p:nvPr>
            <p:ph type="pic" sz="quarter" idx="11" hasCustomPrompt="1"/>
          </p:nvPr>
        </p:nvSpPr>
        <p:spPr>
          <a:xfrm>
            <a:off x="857250" y="1015135"/>
            <a:ext cx="3709856" cy="4827730"/>
          </a:xfrm>
          <a:custGeom>
            <a:avLst/>
            <a:gdLst>
              <a:gd name="connsiteX0" fmla="*/ 703221 w 1353378"/>
              <a:gd name="connsiteY0" fmla="*/ 0 h 1761185"/>
              <a:gd name="connsiteX1" fmla="*/ 1169383 w 1353378"/>
              <a:gd name="connsiteY1" fmla="*/ 146374 h 1761185"/>
              <a:gd name="connsiteX2" fmla="*/ 1345149 w 1353378"/>
              <a:gd name="connsiteY2" fmla="*/ 523183 h 1761185"/>
              <a:gd name="connsiteX3" fmla="*/ 1342798 w 1353378"/>
              <a:gd name="connsiteY3" fmla="*/ 530237 h 1761185"/>
              <a:gd name="connsiteX4" fmla="*/ 957171 w 1353378"/>
              <a:gd name="connsiteY4" fmla="*/ 530237 h 1761185"/>
              <a:gd name="connsiteX5" fmla="*/ 887805 w 1353378"/>
              <a:gd name="connsiteY5" fmla="*/ 363877 h 1761185"/>
              <a:gd name="connsiteX6" fmla="*/ 696167 w 1353378"/>
              <a:gd name="connsiteY6" fmla="*/ 299801 h 1761185"/>
              <a:gd name="connsiteX7" fmla="*/ 508057 w 1353378"/>
              <a:gd name="connsiteY7" fmla="*/ 352708 h 1761185"/>
              <a:gd name="connsiteX8" fmla="*/ 439866 w 1353378"/>
              <a:gd name="connsiteY8" fmla="*/ 483209 h 1761185"/>
              <a:gd name="connsiteX9" fmla="*/ 508645 w 1353378"/>
              <a:gd name="connsiteY9" fmla="*/ 603717 h 1761185"/>
              <a:gd name="connsiteX10" fmla="*/ 766709 w 1353378"/>
              <a:gd name="connsiteY10" fmla="*/ 717171 h 1761185"/>
              <a:gd name="connsiteX11" fmla="*/ 1205830 w 1353378"/>
              <a:gd name="connsiteY11" fmla="*/ 931148 h 1761185"/>
              <a:gd name="connsiteX12" fmla="*/ 1353378 w 1353378"/>
              <a:gd name="connsiteY12" fmla="*/ 1280328 h 1761185"/>
              <a:gd name="connsiteX13" fmla="*/ 1177613 w 1353378"/>
              <a:gd name="connsiteY13" fmla="*/ 1633623 h 1761185"/>
              <a:gd name="connsiteX14" fmla="*/ 711451 w 1353378"/>
              <a:gd name="connsiteY14" fmla="*/ 1761185 h 1761185"/>
              <a:gd name="connsiteX15" fmla="*/ 207080 w 1353378"/>
              <a:gd name="connsiteY15" fmla="*/ 1614811 h 1761185"/>
              <a:gd name="connsiteX16" fmla="*/ 159 w 1353378"/>
              <a:gd name="connsiteY16" fmla="*/ 1193326 h 1761185"/>
              <a:gd name="connsiteX17" fmla="*/ 2510 w 1353378"/>
              <a:gd name="connsiteY17" fmla="*/ 1186272 h 1761185"/>
              <a:gd name="connsiteX18" fmla="*/ 389312 w 1353378"/>
              <a:gd name="connsiteY18" fmla="*/ 1186272 h 1761185"/>
              <a:gd name="connsiteX19" fmla="*/ 469259 w 1353378"/>
              <a:gd name="connsiteY19" fmla="*/ 1397897 h 1761185"/>
              <a:gd name="connsiteX20" fmla="*/ 711451 w 1353378"/>
              <a:gd name="connsiteY20" fmla="*/ 1461384 h 1761185"/>
              <a:gd name="connsiteX21" fmla="*/ 895447 w 1353378"/>
              <a:gd name="connsiteY21" fmla="*/ 1412005 h 1761185"/>
              <a:gd name="connsiteX22" fmla="*/ 955995 w 1353378"/>
              <a:gd name="connsiteY22" fmla="*/ 1282679 h 1761185"/>
              <a:gd name="connsiteX23" fmla="*/ 896035 w 1353378"/>
              <a:gd name="connsiteY23" fmla="*/ 1142772 h 1761185"/>
              <a:gd name="connsiteX24" fmla="*/ 680883 w 1353378"/>
              <a:gd name="connsiteY24" fmla="*/ 1038136 h 1761185"/>
              <a:gd name="connsiteX25" fmla="*/ 200026 w 1353378"/>
              <a:gd name="connsiteY25" fmla="*/ 818869 h 1761185"/>
              <a:gd name="connsiteX26" fmla="*/ 43659 w 1353378"/>
              <a:gd name="connsiteY26" fmla="*/ 480858 h 1761185"/>
              <a:gd name="connsiteX27" fmla="*/ 230006 w 1353378"/>
              <a:gd name="connsiteY27" fmla="*/ 132854 h 1761185"/>
              <a:gd name="connsiteX28" fmla="*/ 703221 w 1353378"/>
              <a:gd name="connsiteY28"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3378" h="1761185">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1615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8" decel="100000"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1250" fill="hold"/>
                                        <p:tgtEl>
                                          <p:spTgt spid="3"/>
                                        </p:tgtEl>
                                        <p:attrNameLst>
                                          <p:attrName>ppt_x</p:attrName>
                                        </p:attrNameLst>
                                      </p:cBhvr>
                                      <p:tavLst>
                                        <p:tav tm="0">
                                          <p:val>
                                            <p:strVal val="0-#ppt_w/2"/>
                                          </p:val>
                                        </p:tav>
                                        <p:tav tm="100000">
                                          <p:val>
                                            <p:strVal val="#ppt_x"/>
                                          </p:val>
                                        </p:tav>
                                      </p:tavLst>
                                    </p:anim>
                                    <p:anim calcmode="lin" valueType="num">
                                      <p:cBhvr additive="base">
                                        <p:cTn id="19" dur="12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3" grpId="0" animBg="1"/>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3" name="Picture Placeholder 22">
            <a:extLst>
              <a:ext uri="{FF2B5EF4-FFF2-40B4-BE49-F238E27FC236}">
                <a16:creationId xmlns:a16="http://schemas.microsoft.com/office/drawing/2014/main" id="{A06455D5-6037-4FE0-89C4-3134D64AEC83}"/>
              </a:ext>
            </a:extLst>
          </p:cNvPr>
          <p:cNvSpPr>
            <a:spLocks noGrp="1"/>
          </p:cNvSpPr>
          <p:nvPr>
            <p:ph type="pic" sz="quarter" idx="11" hasCustomPrompt="1"/>
          </p:nvPr>
        </p:nvSpPr>
        <p:spPr>
          <a:xfrm>
            <a:off x="6286410" y="1378382"/>
            <a:ext cx="5067390" cy="4101235"/>
          </a:xfrm>
          <a:custGeom>
            <a:avLst/>
            <a:gdLst>
              <a:gd name="connsiteX0" fmla="*/ 0 w 2115066"/>
              <a:gd name="connsiteY0" fmla="*/ 0 h 1711805"/>
              <a:gd name="connsiteX1" fmla="*/ 385627 w 2115066"/>
              <a:gd name="connsiteY1" fmla="*/ 0 h 1711805"/>
              <a:gd name="connsiteX2" fmla="*/ 610183 w 2115066"/>
              <a:gd name="connsiteY2" fmla="*/ 1122784 h 1711805"/>
              <a:gd name="connsiteX3" fmla="*/ 617237 w 2115066"/>
              <a:gd name="connsiteY3" fmla="*/ 1122784 h 1711805"/>
              <a:gd name="connsiteX4" fmla="*/ 919390 w 2115066"/>
              <a:gd name="connsiteY4" fmla="*/ 0 h 1711805"/>
              <a:gd name="connsiteX5" fmla="*/ 1195677 w 2115066"/>
              <a:gd name="connsiteY5" fmla="*/ 0 h 1711805"/>
              <a:gd name="connsiteX6" fmla="*/ 1499005 w 2115066"/>
              <a:gd name="connsiteY6" fmla="*/ 1122784 h 1711805"/>
              <a:gd name="connsiteX7" fmla="*/ 1506059 w 2115066"/>
              <a:gd name="connsiteY7" fmla="*/ 1122784 h 1711805"/>
              <a:gd name="connsiteX8" fmla="*/ 1730616 w 2115066"/>
              <a:gd name="connsiteY8" fmla="*/ 0 h 1711805"/>
              <a:gd name="connsiteX9" fmla="*/ 2115066 w 2115066"/>
              <a:gd name="connsiteY9" fmla="*/ 0 h 1711805"/>
              <a:gd name="connsiteX10" fmla="*/ 1722386 w 2115066"/>
              <a:gd name="connsiteY10" fmla="*/ 1711805 h 1711805"/>
              <a:gd name="connsiteX11" fmla="*/ 1348517 w 2115066"/>
              <a:gd name="connsiteY11" fmla="*/ 1711805 h 1711805"/>
              <a:gd name="connsiteX12" fmla="*/ 1060472 w 2115066"/>
              <a:gd name="connsiteY12" fmla="*/ 656035 h 1711805"/>
              <a:gd name="connsiteX13" fmla="*/ 1053418 w 2115066"/>
              <a:gd name="connsiteY13" fmla="*/ 656035 h 1711805"/>
              <a:gd name="connsiteX14" fmla="*/ 767726 w 2115066"/>
              <a:gd name="connsiteY14" fmla="*/ 1711805 h 1711805"/>
              <a:gd name="connsiteX15" fmla="*/ 393855 w 2115066"/>
              <a:gd name="connsiteY15" fmla="*/ 1711805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5066" h="1711805">
                <a:moveTo>
                  <a:pt x="0" y="0"/>
                </a:moveTo>
                <a:lnTo>
                  <a:pt x="385627" y="0"/>
                </a:lnTo>
                <a:lnTo>
                  <a:pt x="610183" y="1122784"/>
                </a:lnTo>
                <a:lnTo>
                  <a:pt x="617237" y="1122784"/>
                </a:lnTo>
                <a:lnTo>
                  <a:pt x="919390" y="0"/>
                </a:lnTo>
                <a:lnTo>
                  <a:pt x="1195677" y="0"/>
                </a:lnTo>
                <a:lnTo>
                  <a:pt x="1499005" y="1122784"/>
                </a:lnTo>
                <a:lnTo>
                  <a:pt x="1506059" y="1122784"/>
                </a:lnTo>
                <a:lnTo>
                  <a:pt x="1730616" y="0"/>
                </a:lnTo>
                <a:lnTo>
                  <a:pt x="2115066" y="0"/>
                </a:lnTo>
                <a:lnTo>
                  <a:pt x="1722386" y="1711805"/>
                </a:lnTo>
                <a:lnTo>
                  <a:pt x="1348517" y="1711805"/>
                </a:lnTo>
                <a:lnTo>
                  <a:pt x="1060472" y="656035"/>
                </a:lnTo>
                <a:lnTo>
                  <a:pt x="1053418" y="656035"/>
                </a:lnTo>
                <a:lnTo>
                  <a:pt x="767726" y="1711805"/>
                </a:lnTo>
                <a:lnTo>
                  <a:pt x="393855" y="171180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82981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2" decel="100000" fill="hold" grpId="0" nodeType="withEffect">
                                  <p:stCondLst>
                                    <p:cond delay="500"/>
                                  </p:stCondLst>
                                  <p:childTnLst>
                                    <p:set>
                                      <p:cBhvr>
                                        <p:cTn id="17" dur="1" fill="hold">
                                          <p:stCondLst>
                                            <p:cond delay="0"/>
                                          </p:stCondLst>
                                        </p:cTn>
                                        <p:tgtEl>
                                          <p:spTgt spid="23"/>
                                        </p:tgtEl>
                                        <p:attrNameLst>
                                          <p:attrName>style.visibility</p:attrName>
                                        </p:attrNameLst>
                                      </p:cBhvr>
                                      <p:to>
                                        <p:strVal val="visible"/>
                                      </p:to>
                                    </p:set>
                                    <p:anim calcmode="lin" valueType="num">
                                      <p:cBhvr additive="base">
                                        <p:cTn id="18" dur="1250" fill="hold"/>
                                        <p:tgtEl>
                                          <p:spTgt spid="23"/>
                                        </p:tgtEl>
                                        <p:attrNameLst>
                                          <p:attrName>ppt_x</p:attrName>
                                        </p:attrNameLst>
                                      </p:cBhvr>
                                      <p:tavLst>
                                        <p:tav tm="0">
                                          <p:val>
                                            <p:strVal val="1+#ppt_w/2"/>
                                          </p:val>
                                        </p:tav>
                                        <p:tav tm="100000">
                                          <p:val>
                                            <p:strVal val="#ppt_x"/>
                                          </p:val>
                                        </p:tav>
                                      </p:tavLst>
                                    </p:anim>
                                    <p:anim calcmode="lin" valueType="num">
                                      <p:cBhvr additive="base">
                                        <p:cTn id="19" dur="12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3" grpId="0"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C71152C4-28AD-4D0A-AEF5-B90DA4E02D17}"/>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847D1117-324E-4A27-BD4A-803E0E90BCBF}"/>
              </a:ext>
            </a:extLst>
          </p:cNvPr>
          <p:cNvSpPr>
            <a:spLocks noGrp="1"/>
          </p:cNvSpPr>
          <p:nvPr>
            <p:ph type="pic" sz="quarter" idx="12" hasCustomPrompt="1"/>
          </p:nvPr>
        </p:nvSpPr>
        <p:spPr>
          <a:xfrm>
            <a:off x="838200" y="1015135"/>
            <a:ext cx="3986579" cy="4827730"/>
          </a:xfrm>
          <a:custGeom>
            <a:avLst/>
            <a:gdLst>
              <a:gd name="connsiteX0" fmla="*/ 727751 w 1454328"/>
              <a:gd name="connsiteY0" fmla="*/ 305680 h 1761185"/>
              <a:gd name="connsiteX1" fmla="*/ 481444 w 1454328"/>
              <a:gd name="connsiteY1" fmla="*/ 422661 h 1761185"/>
              <a:gd name="connsiteX2" fmla="*/ 396206 w 1454328"/>
              <a:gd name="connsiteY2" fmla="*/ 724226 h 1761185"/>
              <a:gd name="connsiteX3" fmla="*/ 396206 w 1454328"/>
              <a:gd name="connsiteY3" fmla="*/ 1034608 h 1761185"/>
              <a:gd name="connsiteX4" fmla="*/ 482620 w 1454328"/>
              <a:gd name="connsiteY4" fmla="*/ 1337936 h 1761185"/>
              <a:gd name="connsiteX5" fmla="*/ 730103 w 1454328"/>
              <a:gd name="connsiteY5" fmla="*/ 1455505 h 1761185"/>
              <a:gd name="connsiteX6" fmla="*/ 972295 w 1454328"/>
              <a:gd name="connsiteY6" fmla="*/ 1337936 h 1761185"/>
              <a:gd name="connsiteX7" fmla="*/ 1058120 w 1454328"/>
              <a:gd name="connsiteY7" fmla="*/ 1034608 h 1761185"/>
              <a:gd name="connsiteX8" fmla="*/ 1058120 w 1454328"/>
              <a:gd name="connsiteY8" fmla="*/ 724226 h 1761185"/>
              <a:gd name="connsiteX9" fmla="*/ 971707 w 1454328"/>
              <a:gd name="connsiteY9" fmla="*/ 423249 h 1761185"/>
              <a:gd name="connsiteX10" fmla="*/ 727751 w 1454328"/>
              <a:gd name="connsiteY10" fmla="*/ 305680 h 1761185"/>
              <a:gd name="connsiteX11" fmla="*/ 727751 w 1454328"/>
              <a:gd name="connsiteY11" fmla="*/ 0 h 1761185"/>
              <a:gd name="connsiteX12" fmla="*/ 1252110 w 1454328"/>
              <a:gd name="connsiteY12" fmla="*/ 205746 h 1761185"/>
              <a:gd name="connsiteX13" fmla="*/ 1454328 w 1454328"/>
              <a:gd name="connsiteY13" fmla="*/ 726577 h 1761185"/>
              <a:gd name="connsiteX14" fmla="*/ 1454328 w 1454328"/>
              <a:gd name="connsiteY14" fmla="*/ 1034608 h 1761185"/>
              <a:gd name="connsiteX15" fmla="*/ 1253873 w 1454328"/>
              <a:gd name="connsiteY15" fmla="*/ 1556027 h 1761185"/>
              <a:gd name="connsiteX16" fmla="*/ 730103 w 1454328"/>
              <a:gd name="connsiteY16" fmla="*/ 1761185 h 1761185"/>
              <a:gd name="connsiteX17" fmla="*/ 202218 w 1454328"/>
              <a:gd name="connsiteY17" fmla="*/ 1556027 h 1761185"/>
              <a:gd name="connsiteX18" fmla="*/ 0 w 1454328"/>
              <a:gd name="connsiteY18" fmla="*/ 1034608 h 1761185"/>
              <a:gd name="connsiteX19" fmla="*/ 0 w 1454328"/>
              <a:gd name="connsiteY19" fmla="*/ 726577 h 1761185"/>
              <a:gd name="connsiteX20" fmla="*/ 201631 w 1454328"/>
              <a:gd name="connsiteY20" fmla="*/ 205746 h 1761185"/>
              <a:gd name="connsiteX21" fmla="*/ 727751 w 1454328"/>
              <a:gd name="connsiteY21"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4328" h="1761185">
                <a:moveTo>
                  <a:pt x="727751" y="305680"/>
                </a:moveTo>
                <a:cubicBezTo>
                  <a:pt x="620372" y="305680"/>
                  <a:pt x="538269" y="344674"/>
                  <a:pt x="481444" y="422661"/>
                </a:cubicBezTo>
                <a:cubicBezTo>
                  <a:pt x="424619" y="500649"/>
                  <a:pt x="396206" y="601170"/>
                  <a:pt x="396206" y="724226"/>
                </a:cubicBezTo>
                <a:lnTo>
                  <a:pt x="396206" y="1034608"/>
                </a:lnTo>
                <a:cubicBezTo>
                  <a:pt x="396206" y="1158447"/>
                  <a:pt x="425011" y="1259557"/>
                  <a:pt x="482620" y="1337936"/>
                </a:cubicBezTo>
                <a:cubicBezTo>
                  <a:pt x="540229" y="1416316"/>
                  <a:pt x="622722" y="1455505"/>
                  <a:pt x="730103" y="1455505"/>
                </a:cubicBezTo>
                <a:cubicBezTo>
                  <a:pt x="834347" y="1455505"/>
                  <a:pt x="915078" y="1416316"/>
                  <a:pt x="972295" y="1337936"/>
                </a:cubicBezTo>
                <a:cubicBezTo>
                  <a:pt x="1029513" y="1259557"/>
                  <a:pt x="1058120" y="1158447"/>
                  <a:pt x="1058120" y="1034608"/>
                </a:cubicBezTo>
                <a:lnTo>
                  <a:pt x="1058120" y="724226"/>
                </a:lnTo>
                <a:cubicBezTo>
                  <a:pt x="1058120" y="601955"/>
                  <a:pt x="1029317" y="501628"/>
                  <a:pt x="971707" y="423249"/>
                </a:cubicBezTo>
                <a:cubicBezTo>
                  <a:pt x="914099" y="344869"/>
                  <a:pt x="832780" y="305680"/>
                  <a:pt x="727751" y="305680"/>
                </a:cubicBezTo>
                <a:close/>
                <a:moveTo>
                  <a:pt x="727751" y="0"/>
                </a:moveTo>
                <a:cubicBezTo>
                  <a:pt x="942511" y="0"/>
                  <a:pt x="1117296" y="68583"/>
                  <a:pt x="1252110" y="205746"/>
                </a:cubicBezTo>
                <a:cubicBezTo>
                  <a:pt x="1386922" y="342910"/>
                  <a:pt x="1454328" y="516521"/>
                  <a:pt x="1454328" y="726577"/>
                </a:cubicBezTo>
                <a:lnTo>
                  <a:pt x="1454328" y="1034608"/>
                </a:lnTo>
                <a:cubicBezTo>
                  <a:pt x="1454328" y="1245449"/>
                  <a:pt x="1387510" y="1419254"/>
                  <a:pt x="1253873" y="1556027"/>
                </a:cubicBezTo>
                <a:cubicBezTo>
                  <a:pt x="1120236" y="1692799"/>
                  <a:pt x="945646" y="1761185"/>
                  <a:pt x="730103" y="1761185"/>
                </a:cubicBezTo>
                <a:cubicBezTo>
                  <a:pt x="512991" y="1761185"/>
                  <a:pt x="337030" y="1692799"/>
                  <a:pt x="202218" y="1556027"/>
                </a:cubicBezTo>
                <a:cubicBezTo>
                  <a:pt x="67405" y="1419254"/>
                  <a:pt x="0" y="1245449"/>
                  <a:pt x="0" y="1034608"/>
                </a:cubicBezTo>
                <a:lnTo>
                  <a:pt x="0" y="726577"/>
                </a:lnTo>
                <a:cubicBezTo>
                  <a:pt x="0" y="516521"/>
                  <a:pt x="67209" y="342910"/>
                  <a:pt x="201631" y="205746"/>
                </a:cubicBezTo>
                <a:cubicBezTo>
                  <a:pt x="336051" y="68583"/>
                  <a:pt x="511424" y="0"/>
                  <a:pt x="72775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24480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anim calcmode="lin" valueType="num">
                                      <p:cBhvr>
                                        <p:cTn id="12" dur="1000" fill="hold"/>
                                        <p:tgtEl>
                                          <p:spTgt spid="23"/>
                                        </p:tgtEl>
                                        <p:attrNameLst>
                                          <p:attrName>ppt_x</p:attrName>
                                        </p:attrNameLst>
                                      </p:cBhvr>
                                      <p:tavLst>
                                        <p:tav tm="0">
                                          <p:val>
                                            <p:strVal val="#ppt_x"/>
                                          </p:val>
                                        </p:tav>
                                        <p:tav tm="100000">
                                          <p:val>
                                            <p:strVal val="#ppt_x"/>
                                          </p:val>
                                        </p:tav>
                                      </p:tavLst>
                                    </p:anim>
                                    <p:anim calcmode="lin" valueType="num">
                                      <p:cBhvr>
                                        <p:cTn id="13" dur="1000" fill="hold"/>
                                        <p:tgtEl>
                                          <p:spTgt spid="23"/>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23"/>
                                        </p:tgtEl>
                                        <p:attrNameLst>
                                          <p:attrName>r</p:attrName>
                                        </p:attrNameLst>
                                      </p:cBhvr>
                                    </p:animRot>
                                    <p:animRot by="-240000">
                                      <p:cBhvr>
                                        <p:cTn id="16" dur="1000" fill="hold">
                                          <p:stCondLst>
                                            <p:cond delay="1000"/>
                                          </p:stCondLst>
                                        </p:cTn>
                                        <p:tgtEl>
                                          <p:spTgt spid="23"/>
                                        </p:tgtEl>
                                        <p:attrNameLst>
                                          <p:attrName>r</p:attrName>
                                        </p:attrNameLst>
                                      </p:cBhvr>
                                    </p:animRot>
                                    <p:animRot by="240000">
                                      <p:cBhvr>
                                        <p:cTn id="17" dur="1000" fill="hold">
                                          <p:stCondLst>
                                            <p:cond delay="2000"/>
                                          </p:stCondLst>
                                        </p:cTn>
                                        <p:tgtEl>
                                          <p:spTgt spid="23"/>
                                        </p:tgtEl>
                                        <p:attrNameLst>
                                          <p:attrName>r</p:attrName>
                                        </p:attrNameLst>
                                      </p:cBhvr>
                                    </p:animRot>
                                    <p:animRot by="-240000">
                                      <p:cBhvr>
                                        <p:cTn id="18" dur="1000" fill="hold">
                                          <p:stCondLst>
                                            <p:cond delay="3000"/>
                                          </p:stCondLst>
                                        </p:cTn>
                                        <p:tgtEl>
                                          <p:spTgt spid="23"/>
                                        </p:tgtEl>
                                        <p:attrNameLst>
                                          <p:attrName>r</p:attrName>
                                        </p:attrNameLst>
                                      </p:cBhvr>
                                    </p:animRot>
                                    <p:animRot by="120000">
                                      <p:cBhvr>
                                        <p:cTn id="19" dur="1000" fill="hold">
                                          <p:stCondLst>
                                            <p:cond delay="4000"/>
                                          </p:stCondLst>
                                        </p:cTn>
                                        <p:tgtEl>
                                          <p:spTgt spid="2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5"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14A24BDD-DCF1-4C17-98CC-3A4BEB34DC20}"/>
              </a:ext>
            </a:extLst>
          </p:cNvPr>
          <p:cNvSpPr>
            <a:spLocks noGrp="1"/>
          </p:cNvSpPr>
          <p:nvPr>
            <p:ph type="pic" sz="quarter" idx="12" hasCustomPrompt="1"/>
          </p:nvPr>
        </p:nvSpPr>
        <p:spPr>
          <a:xfrm>
            <a:off x="7962901" y="1192973"/>
            <a:ext cx="3390899" cy="4472055"/>
          </a:xfrm>
          <a:custGeom>
            <a:avLst/>
            <a:gdLst>
              <a:gd name="connsiteX0" fmla="*/ 0 w 1297962"/>
              <a:gd name="connsiteY0" fmla="*/ 0 h 1711805"/>
              <a:gd name="connsiteX1" fmla="*/ 1297962 w 1297962"/>
              <a:gd name="connsiteY1" fmla="*/ 0 h 1711805"/>
              <a:gd name="connsiteX2" fmla="*/ 1297962 w 1297962"/>
              <a:gd name="connsiteY2" fmla="*/ 305679 h 1711805"/>
              <a:gd name="connsiteX3" fmla="*/ 846497 w 1297962"/>
              <a:gd name="connsiteY3" fmla="*/ 305679 h 1711805"/>
              <a:gd name="connsiteX4" fmla="*/ 846497 w 1297962"/>
              <a:gd name="connsiteY4" fmla="*/ 1711805 h 1711805"/>
              <a:gd name="connsiteX5" fmla="*/ 447938 w 1297962"/>
              <a:gd name="connsiteY5" fmla="*/ 1711805 h 1711805"/>
              <a:gd name="connsiteX6" fmla="*/ 447938 w 1297962"/>
              <a:gd name="connsiteY6" fmla="*/ 305679 h 1711805"/>
              <a:gd name="connsiteX7" fmla="*/ 0 w 1297962"/>
              <a:gd name="connsiteY7" fmla="*/ 305679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962" h="1711805">
                <a:moveTo>
                  <a:pt x="0" y="0"/>
                </a:moveTo>
                <a:lnTo>
                  <a:pt x="1297962" y="0"/>
                </a:lnTo>
                <a:lnTo>
                  <a:pt x="1297962" y="305679"/>
                </a:lnTo>
                <a:lnTo>
                  <a:pt x="846497" y="305679"/>
                </a:lnTo>
                <a:lnTo>
                  <a:pt x="846497" y="1711805"/>
                </a:lnTo>
                <a:lnTo>
                  <a:pt x="447938" y="1711805"/>
                </a:lnTo>
                <a:lnTo>
                  <a:pt x="447938" y="305679"/>
                </a:lnTo>
                <a:lnTo>
                  <a:pt x="0" y="30567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56976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1000" fill="hold"/>
                                        <p:tgtEl>
                                          <p:spTgt spid="4"/>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4"/>
                                        </p:tgtEl>
                                        <p:attrNameLst>
                                          <p:attrName>r</p:attrName>
                                        </p:attrNameLst>
                                      </p:cBhvr>
                                    </p:animRot>
                                    <p:animRot by="-240000">
                                      <p:cBhvr>
                                        <p:cTn id="16" dur="1000" fill="hold">
                                          <p:stCondLst>
                                            <p:cond delay="1000"/>
                                          </p:stCondLst>
                                        </p:cTn>
                                        <p:tgtEl>
                                          <p:spTgt spid="4"/>
                                        </p:tgtEl>
                                        <p:attrNameLst>
                                          <p:attrName>r</p:attrName>
                                        </p:attrNameLst>
                                      </p:cBhvr>
                                    </p:animRot>
                                    <p:animRot by="240000">
                                      <p:cBhvr>
                                        <p:cTn id="17" dur="1000" fill="hold">
                                          <p:stCondLst>
                                            <p:cond delay="2000"/>
                                          </p:stCondLst>
                                        </p:cTn>
                                        <p:tgtEl>
                                          <p:spTgt spid="4"/>
                                        </p:tgtEl>
                                        <p:attrNameLst>
                                          <p:attrName>r</p:attrName>
                                        </p:attrNameLst>
                                      </p:cBhvr>
                                    </p:animRot>
                                    <p:animRot by="-240000">
                                      <p:cBhvr>
                                        <p:cTn id="18" dur="1000" fill="hold">
                                          <p:stCondLst>
                                            <p:cond delay="3000"/>
                                          </p:stCondLst>
                                        </p:cTn>
                                        <p:tgtEl>
                                          <p:spTgt spid="4"/>
                                        </p:tgtEl>
                                        <p:attrNameLst>
                                          <p:attrName>r</p:attrName>
                                        </p:attrNameLst>
                                      </p:cBhvr>
                                    </p:animRot>
                                    <p:animRot by="120000">
                                      <p:cBhvr>
                                        <p:cTn id="19"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Tree>
    <p:extLst>
      <p:ext uri="{BB962C8B-B14F-4D97-AF65-F5344CB8AC3E}">
        <p14:creationId xmlns:p14="http://schemas.microsoft.com/office/powerpoint/2010/main" val="40782190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9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
        <p:nvSpPr>
          <p:cNvPr id="24" name="Picture Placeholder 23">
            <a:extLst>
              <a:ext uri="{FF2B5EF4-FFF2-40B4-BE49-F238E27FC236}">
                <a16:creationId xmlns:a16="http://schemas.microsoft.com/office/drawing/2014/main" id="{F33060AA-3BF4-4287-8EE9-8A8C9966FFC2}"/>
              </a:ext>
            </a:extLst>
          </p:cNvPr>
          <p:cNvSpPr>
            <a:spLocks noGrp="1"/>
          </p:cNvSpPr>
          <p:nvPr>
            <p:ph type="pic" sz="quarter" idx="10" hasCustomPrompt="1"/>
          </p:nvPr>
        </p:nvSpPr>
        <p:spPr>
          <a:xfrm>
            <a:off x="6096001" y="135155"/>
            <a:ext cx="6095997" cy="6722845"/>
          </a:xfrm>
          <a:custGeom>
            <a:avLst/>
            <a:gdLst>
              <a:gd name="connsiteX0" fmla="*/ 0 w 6095997"/>
              <a:gd name="connsiteY0" fmla="*/ 0 h 6722845"/>
              <a:gd name="connsiteX1" fmla="*/ 6095997 w 6095997"/>
              <a:gd name="connsiteY1" fmla="*/ 0 h 6722845"/>
              <a:gd name="connsiteX2" fmla="*/ 6095997 w 6095997"/>
              <a:gd name="connsiteY2" fmla="*/ 6722845 h 6722845"/>
              <a:gd name="connsiteX3" fmla="*/ 0 w 6095997"/>
              <a:gd name="connsiteY3" fmla="*/ 6722845 h 6722845"/>
            </a:gdLst>
            <a:ahLst/>
            <a:cxnLst>
              <a:cxn ang="0">
                <a:pos x="connsiteX0" y="connsiteY0"/>
              </a:cxn>
              <a:cxn ang="0">
                <a:pos x="connsiteX1" y="connsiteY1"/>
              </a:cxn>
              <a:cxn ang="0">
                <a:pos x="connsiteX2" y="connsiteY2"/>
              </a:cxn>
              <a:cxn ang="0">
                <a:pos x="connsiteX3" y="connsiteY3"/>
              </a:cxn>
            </a:cxnLst>
            <a:rect l="l" t="t" r="r" b="b"/>
            <a:pathLst>
              <a:path w="6095997" h="6722845">
                <a:moveTo>
                  <a:pt x="0" y="0"/>
                </a:moveTo>
                <a:lnTo>
                  <a:pt x="6095997" y="0"/>
                </a:lnTo>
                <a:lnTo>
                  <a:pt x="6095997" y="6722845"/>
                </a:lnTo>
                <a:lnTo>
                  <a:pt x="0" y="6722845"/>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63806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250" fill="hold"/>
                                        <p:tgtEl>
                                          <p:spTgt spid="24"/>
                                        </p:tgtEl>
                                        <p:attrNameLst>
                                          <p:attrName>ppt_x</p:attrName>
                                        </p:attrNameLst>
                                      </p:cBhvr>
                                      <p:tavLst>
                                        <p:tav tm="0">
                                          <p:val>
                                            <p:strVal val="1+#ppt_w/2"/>
                                          </p:val>
                                        </p:tav>
                                        <p:tav tm="100000">
                                          <p:val>
                                            <p:strVal val="#ppt_x"/>
                                          </p:val>
                                        </p:tav>
                                      </p:tavLst>
                                    </p:anim>
                                    <p:anim calcmode="lin" valueType="num">
                                      <p:cBhvr additive="base">
                                        <p:cTn id="8" dur="125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3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DDEE9355-1B70-4E09-8419-ACEA3BD55D79}"/>
              </a:ext>
            </a:extLst>
          </p:cNvPr>
          <p:cNvSpPr>
            <a:spLocks noGrp="1"/>
          </p:cNvSpPr>
          <p:nvPr>
            <p:ph type="pic" sz="quarter" idx="10" hasCustomPrompt="1"/>
          </p:nvPr>
        </p:nvSpPr>
        <p:spPr>
          <a:xfrm>
            <a:off x="1510251" y="1820845"/>
            <a:ext cx="9143790" cy="1761185"/>
          </a:xfrm>
          <a:custGeom>
            <a:avLst/>
            <a:gdLst>
              <a:gd name="connsiteX0" fmla="*/ 5889359 w 9143790"/>
              <a:gd name="connsiteY0" fmla="*/ 305680 h 1761185"/>
              <a:gd name="connsiteX1" fmla="*/ 5643052 w 9143790"/>
              <a:gd name="connsiteY1" fmla="*/ 422661 h 1761185"/>
              <a:gd name="connsiteX2" fmla="*/ 5557814 w 9143790"/>
              <a:gd name="connsiteY2" fmla="*/ 724226 h 1761185"/>
              <a:gd name="connsiteX3" fmla="*/ 5557814 w 9143790"/>
              <a:gd name="connsiteY3" fmla="*/ 1034608 h 1761185"/>
              <a:gd name="connsiteX4" fmla="*/ 5644228 w 9143790"/>
              <a:gd name="connsiteY4" fmla="*/ 1337936 h 1761185"/>
              <a:gd name="connsiteX5" fmla="*/ 5891711 w 9143790"/>
              <a:gd name="connsiteY5" fmla="*/ 1455505 h 1761185"/>
              <a:gd name="connsiteX6" fmla="*/ 6133903 w 9143790"/>
              <a:gd name="connsiteY6" fmla="*/ 1337936 h 1761185"/>
              <a:gd name="connsiteX7" fmla="*/ 6219728 w 9143790"/>
              <a:gd name="connsiteY7" fmla="*/ 1034608 h 1761185"/>
              <a:gd name="connsiteX8" fmla="*/ 6219728 w 9143790"/>
              <a:gd name="connsiteY8" fmla="*/ 724226 h 1761185"/>
              <a:gd name="connsiteX9" fmla="*/ 6133315 w 9143790"/>
              <a:gd name="connsiteY9" fmla="*/ 423249 h 1761185"/>
              <a:gd name="connsiteX10" fmla="*/ 5889359 w 9143790"/>
              <a:gd name="connsiteY10" fmla="*/ 305680 h 1761185"/>
              <a:gd name="connsiteX11" fmla="*/ 7845828 w 9143790"/>
              <a:gd name="connsiteY11" fmla="*/ 21585 h 1761185"/>
              <a:gd name="connsiteX12" fmla="*/ 9143790 w 9143790"/>
              <a:gd name="connsiteY12" fmla="*/ 21585 h 1761185"/>
              <a:gd name="connsiteX13" fmla="*/ 9143790 w 9143790"/>
              <a:gd name="connsiteY13" fmla="*/ 327264 h 1761185"/>
              <a:gd name="connsiteX14" fmla="*/ 8692325 w 9143790"/>
              <a:gd name="connsiteY14" fmla="*/ 327264 h 1761185"/>
              <a:gd name="connsiteX15" fmla="*/ 8692325 w 9143790"/>
              <a:gd name="connsiteY15" fmla="*/ 1733390 h 1761185"/>
              <a:gd name="connsiteX16" fmla="*/ 8293766 w 9143790"/>
              <a:gd name="connsiteY16" fmla="*/ 1733390 h 1761185"/>
              <a:gd name="connsiteX17" fmla="*/ 8293766 w 9143790"/>
              <a:gd name="connsiteY17" fmla="*/ 327264 h 1761185"/>
              <a:gd name="connsiteX18" fmla="*/ 7845828 w 9143790"/>
              <a:gd name="connsiteY18" fmla="*/ 327264 h 1761185"/>
              <a:gd name="connsiteX19" fmla="*/ 2225196 w 9143790"/>
              <a:gd name="connsiteY19" fmla="*/ 21585 h 1761185"/>
              <a:gd name="connsiteX20" fmla="*/ 2610823 w 9143790"/>
              <a:gd name="connsiteY20" fmla="*/ 21585 h 1761185"/>
              <a:gd name="connsiteX21" fmla="*/ 2835379 w 9143790"/>
              <a:gd name="connsiteY21" fmla="*/ 1144369 h 1761185"/>
              <a:gd name="connsiteX22" fmla="*/ 2842433 w 9143790"/>
              <a:gd name="connsiteY22" fmla="*/ 1144369 h 1761185"/>
              <a:gd name="connsiteX23" fmla="*/ 3144586 w 9143790"/>
              <a:gd name="connsiteY23" fmla="*/ 21585 h 1761185"/>
              <a:gd name="connsiteX24" fmla="*/ 3420873 w 9143790"/>
              <a:gd name="connsiteY24" fmla="*/ 21585 h 1761185"/>
              <a:gd name="connsiteX25" fmla="*/ 3724201 w 9143790"/>
              <a:gd name="connsiteY25" fmla="*/ 1144369 h 1761185"/>
              <a:gd name="connsiteX26" fmla="*/ 3731255 w 9143790"/>
              <a:gd name="connsiteY26" fmla="*/ 1144369 h 1761185"/>
              <a:gd name="connsiteX27" fmla="*/ 3955812 w 9143790"/>
              <a:gd name="connsiteY27" fmla="*/ 21585 h 1761185"/>
              <a:gd name="connsiteX28" fmla="*/ 4340262 w 9143790"/>
              <a:gd name="connsiteY28" fmla="*/ 21585 h 1761185"/>
              <a:gd name="connsiteX29" fmla="*/ 3947582 w 9143790"/>
              <a:gd name="connsiteY29" fmla="*/ 1733390 h 1761185"/>
              <a:gd name="connsiteX30" fmla="*/ 3573713 w 9143790"/>
              <a:gd name="connsiteY30" fmla="*/ 1733390 h 1761185"/>
              <a:gd name="connsiteX31" fmla="*/ 3285668 w 9143790"/>
              <a:gd name="connsiteY31" fmla="*/ 677620 h 1761185"/>
              <a:gd name="connsiteX32" fmla="*/ 3278614 w 9143790"/>
              <a:gd name="connsiteY32" fmla="*/ 677620 h 1761185"/>
              <a:gd name="connsiteX33" fmla="*/ 2992922 w 9143790"/>
              <a:gd name="connsiteY33" fmla="*/ 1733390 h 1761185"/>
              <a:gd name="connsiteX34" fmla="*/ 2619051 w 9143790"/>
              <a:gd name="connsiteY34" fmla="*/ 1733390 h 1761185"/>
              <a:gd name="connsiteX35" fmla="*/ 5889359 w 9143790"/>
              <a:gd name="connsiteY35" fmla="*/ 0 h 1761185"/>
              <a:gd name="connsiteX36" fmla="*/ 6413718 w 9143790"/>
              <a:gd name="connsiteY36" fmla="*/ 205746 h 1761185"/>
              <a:gd name="connsiteX37" fmla="*/ 6615936 w 9143790"/>
              <a:gd name="connsiteY37" fmla="*/ 726577 h 1761185"/>
              <a:gd name="connsiteX38" fmla="*/ 6615936 w 9143790"/>
              <a:gd name="connsiteY38" fmla="*/ 1034608 h 1761185"/>
              <a:gd name="connsiteX39" fmla="*/ 6415481 w 9143790"/>
              <a:gd name="connsiteY39" fmla="*/ 1556027 h 1761185"/>
              <a:gd name="connsiteX40" fmla="*/ 5891711 w 9143790"/>
              <a:gd name="connsiteY40" fmla="*/ 1761185 h 1761185"/>
              <a:gd name="connsiteX41" fmla="*/ 5363826 w 9143790"/>
              <a:gd name="connsiteY41" fmla="*/ 1556027 h 1761185"/>
              <a:gd name="connsiteX42" fmla="*/ 5161607 w 9143790"/>
              <a:gd name="connsiteY42" fmla="*/ 1034608 h 1761185"/>
              <a:gd name="connsiteX43" fmla="*/ 5161607 w 9143790"/>
              <a:gd name="connsiteY43" fmla="*/ 726577 h 1761185"/>
              <a:gd name="connsiteX44" fmla="*/ 5363238 w 9143790"/>
              <a:gd name="connsiteY44" fmla="*/ 205746 h 1761185"/>
              <a:gd name="connsiteX45" fmla="*/ 5889359 w 9143790"/>
              <a:gd name="connsiteY45" fmla="*/ 0 h 1761185"/>
              <a:gd name="connsiteX46" fmla="*/ 703221 w 9143790"/>
              <a:gd name="connsiteY46" fmla="*/ 0 h 1761185"/>
              <a:gd name="connsiteX47" fmla="*/ 1169383 w 9143790"/>
              <a:gd name="connsiteY47" fmla="*/ 146374 h 1761185"/>
              <a:gd name="connsiteX48" fmla="*/ 1345149 w 9143790"/>
              <a:gd name="connsiteY48" fmla="*/ 523183 h 1761185"/>
              <a:gd name="connsiteX49" fmla="*/ 1342798 w 9143790"/>
              <a:gd name="connsiteY49" fmla="*/ 530237 h 1761185"/>
              <a:gd name="connsiteX50" fmla="*/ 957171 w 9143790"/>
              <a:gd name="connsiteY50" fmla="*/ 530237 h 1761185"/>
              <a:gd name="connsiteX51" fmla="*/ 887805 w 9143790"/>
              <a:gd name="connsiteY51" fmla="*/ 363877 h 1761185"/>
              <a:gd name="connsiteX52" fmla="*/ 696167 w 9143790"/>
              <a:gd name="connsiteY52" fmla="*/ 299801 h 1761185"/>
              <a:gd name="connsiteX53" fmla="*/ 508057 w 9143790"/>
              <a:gd name="connsiteY53" fmla="*/ 352708 h 1761185"/>
              <a:gd name="connsiteX54" fmla="*/ 439866 w 9143790"/>
              <a:gd name="connsiteY54" fmla="*/ 483209 h 1761185"/>
              <a:gd name="connsiteX55" fmla="*/ 508645 w 9143790"/>
              <a:gd name="connsiteY55" fmla="*/ 603717 h 1761185"/>
              <a:gd name="connsiteX56" fmla="*/ 766709 w 9143790"/>
              <a:gd name="connsiteY56" fmla="*/ 717171 h 1761185"/>
              <a:gd name="connsiteX57" fmla="*/ 1205830 w 9143790"/>
              <a:gd name="connsiteY57" fmla="*/ 931148 h 1761185"/>
              <a:gd name="connsiteX58" fmla="*/ 1353378 w 9143790"/>
              <a:gd name="connsiteY58" fmla="*/ 1280328 h 1761185"/>
              <a:gd name="connsiteX59" fmla="*/ 1177613 w 9143790"/>
              <a:gd name="connsiteY59" fmla="*/ 1633623 h 1761185"/>
              <a:gd name="connsiteX60" fmla="*/ 711451 w 9143790"/>
              <a:gd name="connsiteY60" fmla="*/ 1761185 h 1761185"/>
              <a:gd name="connsiteX61" fmla="*/ 207080 w 9143790"/>
              <a:gd name="connsiteY61" fmla="*/ 1614811 h 1761185"/>
              <a:gd name="connsiteX62" fmla="*/ 159 w 9143790"/>
              <a:gd name="connsiteY62" fmla="*/ 1193326 h 1761185"/>
              <a:gd name="connsiteX63" fmla="*/ 2510 w 9143790"/>
              <a:gd name="connsiteY63" fmla="*/ 1186272 h 1761185"/>
              <a:gd name="connsiteX64" fmla="*/ 389312 w 9143790"/>
              <a:gd name="connsiteY64" fmla="*/ 1186272 h 1761185"/>
              <a:gd name="connsiteX65" fmla="*/ 469259 w 9143790"/>
              <a:gd name="connsiteY65" fmla="*/ 1397897 h 1761185"/>
              <a:gd name="connsiteX66" fmla="*/ 711451 w 9143790"/>
              <a:gd name="connsiteY66" fmla="*/ 1461384 h 1761185"/>
              <a:gd name="connsiteX67" fmla="*/ 895447 w 9143790"/>
              <a:gd name="connsiteY67" fmla="*/ 1412005 h 1761185"/>
              <a:gd name="connsiteX68" fmla="*/ 955995 w 9143790"/>
              <a:gd name="connsiteY68" fmla="*/ 1282679 h 1761185"/>
              <a:gd name="connsiteX69" fmla="*/ 896035 w 9143790"/>
              <a:gd name="connsiteY69" fmla="*/ 1142772 h 1761185"/>
              <a:gd name="connsiteX70" fmla="*/ 680883 w 9143790"/>
              <a:gd name="connsiteY70" fmla="*/ 1038136 h 1761185"/>
              <a:gd name="connsiteX71" fmla="*/ 200026 w 9143790"/>
              <a:gd name="connsiteY71" fmla="*/ 818869 h 1761185"/>
              <a:gd name="connsiteX72" fmla="*/ 43659 w 9143790"/>
              <a:gd name="connsiteY72" fmla="*/ 480858 h 1761185"/>
              <a:gd name="connsiteX73" fmla="*/ 230006 w 9143790"/>
              <a:gd name="connsiteY73" fmla="*/ 132854 h 1761185"/>
              <a:gd name="connsiteX74" fmla="*/ 703221 w 9143790"/>
              <a:gd name="connsiteY74"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143790" h="1761185">
                <a:moveTo>
                  <a:pt x="5889359" y="305680"/>
                </a:moveTo>
                <a:cubicBezTo>
                  <a:pt x="5781980" y="305680"/>
                  <a:pt x="5699877" y="344674"/>
                  <a:pt x="5643052" y="422661"/>
                </a:cubicBezTo>
                <a:cubicBezTo>
                  <a:pt x="5586227" y="500649"/>
                  <a:pt x="5557814" y="601170"/>
                  <a:pt x="5557814" y="724226"/>
                </a:cubicBezTo>
                <a:lnTo>
                  <a:pt x="5557814" y="1034608"/>
                </a:lnTo>
                <a:cubicBezTo>
                  <a:pt x="5557814" y="1158447"/>
                  <a:pt x="5586619" y="1259557"/>
                  <a:pt x="5644228" y="1337936"/>
                </a:cubicBezTo>
                <a:cubicBezTo>
                  <a:pt x="5701837" y="1416316"/>
                  <a:pt x="5784330" y="1455505"/>
                  <a:pt x="5891711" y="1455505"/>
                </a:cubicBezTo>
                <a:cubicBezTo>
                  <a:pt x="5995955" y="1455505"/>
                  <a:pt x="6076686" y="1416316"/>
                  <a:pt x="6133903" y="1337936"/>
                </a:cubicBezTo>
                <a:cubicBezTo>
                  <a:pt x="6191120" y="1259557"/>
                  <a:pt x="6219728" y="1158447"/>
                  <a:pt x="6219728" y="1034608"/>
                </a:cubicBezTo>
                <a:lnTo>
                  <a:pt x="6219728" y="724226"/>
                </a:lnTo>
                <a:cubicBezTo>
                  <a:pt x="6219728" y="601955"/>
                  <a:pt x="6190924" y="501628"/>
                  <a:pt x="6133315" y="423249"/>
                </a:cubicBezTo>
                <a:cubicBezTo>
                  <a:pt x="6075706" y="344869"/>
                  <a:pt x="5994388" y="305680"/>
                  <a:pt x="5889359" y="305680"/>
                </a:cubicBezTo>
                <a:close/>
                <a:moveTo>
                  <a:pt x="7845828" y="21585"/>
                </a:moveTo>
                <a:lnTo>
                  <a:pt x="9143790" y="21585"/>
                </a:lnTo>
                <a:lnTo>
                  <a:pt x="9143790" y="327264"/>
                </a:lnTo>
                <a:lnTo>
                  <a:pt x="8692325" y="327264"/>
                </a:lnTo>
                <a:lnTo>
                  <a:pt x="8692325" y="1733390"/>
                </a:lnTo>
                <a:lnTo>
                  <a:pt x="8293766" y="1733390"/>
                </a:lnTo>
                <a:lnTo>
                  <a:pt x="8293766" y="327264"/>
                </a:lnTo>
                <a:lnTo>
                  <a:pt x="7845828" y="327264"/>
                </a:lnTo>
                <a:close/>
                <a:moveTo>
                  <a:pt x="2225196" y="21585"/>
                </a:moveTo>
                <a:lnTo>
                  <a:pt x="2610823" y="21585"/>
                </a:lnTo>
                <a:lnTo>
                  <a:pt x="2835379" y="1144369"/>
                </a:lnTo>
                <a:lnTo>
                  <a:pt x="2842433" y="1144369"/>
                </a:lnTo>
                <a:lnTo>
                  <a:pt x="3144586" y="21585"/>
                </a:lnTo>
                <a:lnTo>
                  <a:pt x="3420873" y="21585"/>
                </a:lnTo>
                <a:lnTo>
                  <a:pt x="3724201" y="1144369"/>
                </a:lnTo>
                <a:lnTo>
                  <a:pt x="3731255" y="1144369"/>
                </a:lnTo>
                <a:lnTo>
                  <a:pt x="3955812" y="21585"/>
                </a:lnTo>
                <a:lnTo>
                  <a:pt x="4340262" y="21585"/>
                </a:lnTo>
                <a:lnTo>
                  <a:pt x="3947582" y="1733390"/>
                </a:lnTo>
                <a:lnTo>
                  <a:pt x="3573713" y="1733390"/>
                </a:lnTo>
                <a:lnTo>
                  <a:pt x="3285668" y="677620"/>
                </a:lnTo>
                <a:lnTo>
                  <a:pt x="3278614" y="677620"/>
                </a:lnTo>
                <a:lnTo>
                  <a:pt x="2992922" y="1733390"/>
                </a:lnTo>
                <a:lnTo>
                  <a:pt x="2619051" y="1733390"/>
                </a:lnTo>
                <a:close/>
                <a:moveTo>
                  <a:pt x="5889359" y="0"/>
                </a:moveTo>
                <a:cubicBezTo>
                  <a:pt x="6104119" y="0"/>
                  <a:pt x="6278904" y="68583"/>
                  <a:pt x="6413718" y="205746"/>
                </a:cubicBezTo>
                <a:cubicBezTo>
                  <a:pt x="6548530" y="342910"/>
                  <a:pt x="6615936" y="516521"/>
                  <a:pt x="6615936" y="726577"/>
                </a:cubicBezTo>
                <a:lnTo>
                  <a:pt x="6615936" y="1034608"/>
                </a:lnTo>
                <a:cubicBezTo>
                  <a:pt x="6615936" y="1245449"/>
                  <a:pt x="6549118" y="1419254"/>
                  <a:pt x="6415481" y="1556027"/>
                </a:cubicBezTo>
                <a:cubicBezTo>
                  <a:pt x="6281844" y="1692799"/>
                  <a:pt x="6107254" y="1761185"/>
                  <a:pt x="5891711" y="1761185"/>
                </a:cubicBezTo>
                <a:cubicBezTo>
                  <a:pt x="5674599" y="1761185"/>
                  <a:pt x="5498638" y="1692799"/>
                  <a:pt x="5363826" y="1556027"/>
                </a:cubicBezTo>
                <a:cubicBezTo>
                  <a:pt x="5229013" y="1419254"/>
                  <a:pt x="5161607" y="1245449"/>
                  <a:pt x="5161607" y="1034608"/>
                </a:cubicBezTo>
                <a:lnTo>
                  <a:pt x="5161607" y="726577"/>
                </a:lnTo>
                <a:cubicBezTo>
                  <a:pt x="5161607" y="516521"/>
                  <a:pt x="5228817" y="342910"/>
                  <a:pt x="5363238" y="205746"/>
                </a:cubicBezTo>
                <a:cubicBezTo>
                  <a:pt x="5497659" y="68583"/>
                  <a:pt x="5673032" y="0"/>
                  <a:pt x="5889359" y="0"/>
                </a:cubicBezTo>
                <a:close/>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5659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25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2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38F0671C-EA9F-4E8C-A178-AC32DCE7283D}"/>
              </a:ext>
            </a:extLst>
          </p:cNvPr>
          <p:cNvSpPr/>
          <p:nvPr userDrawn="1"/>
        </p:nvSpPr>
        <p:spPr>
          <a:xfrm flipH="1">
            <a:off x="-2" y="1028700"/>
            <a:ext cx="12192001" cy="5829301"/>
          </a:xfrm>
          <a:prstGeom prst="round1Rect">
            <a:avLst>
              <a:gd name="adj" fmla="val 16763"/>
            </a:avLst>
          </a:prstGeom>
          <a:solidFill>
            <a:schemeClr val="bg1"/>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877576C4-D73F-4FB7-84BE-7AEF093C3978}"/>
              </a:ext>
            </a:extLst>
          </p:cNvPr>
          <p:cNvSpPr>
            <a:spLocks noGrp="1"/>
          </p:cNvSpPr>
          <p:nvPr>
            <p:ph type="pic" sz="quarter" idx="10" hasCustomPrompt="1"/>
          </p:nvPr>
        </p:nvSpPr>
        <p:spPr>
          <a:xfrm>
            <a:off x="4455056" y="1893571"/>
            <a:ext cx="7736942" cy="4964430"/>
          </a:xfrm>
          <a:custGeom>
            <a:avLst/>
            <a:gdLst>
              <a:gd name="connsiteX0" fmla="*/ 1365466 w 7736942"/>
              <a:gd name="connsiteY0" fmla="*/ 0 h 4964430"/>
              <a:gd name="connsiteX1" fmla="*/ 7736942 w 7736942"/>
              <a:gd name="connsiteY1" fmla="*/ 0 h 4964430"/>
              <a:gd name="connsiteX2" fmla="*/ 7736942 w 7736942"/>
              <a:gd name="connsiteY2" fmla="*/ 4964430 h 4964430"/>
              <a:gd name="connsiteX3" fmla="*/ 0 w 7736942"/>
              <a:gd name="connsiteY3" fmla="*/ 4964430 h 4964430"/>
              <a:gd name="connsiteX4" fmla="*/ 0 w 7736942"/>
              <a:gd name="connsiteY4" fmla="*/ 1365466 h 4964430"/>
              <a:gd name="connsiteX5" fmla="*/ 1365466 w 7736942"/>
              <a:gd name="connsiteY5" fmla="*/ 0 h 496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942" h="4964430">
                <a:moveTo>
                  <a:pt x="1365466" y="0"/>
                </a:moveTo>
                <a:lnTo>
                  <a:pt x="7736942" y="0"/>
                </a:lnTo>
                <a:lnTo>
                  <a:pt x="7736942" y="4964430"/>
                </a:lnTo>
                <a:lnTo>
                  <a:pt x="0" y="4964430"/>
                </a:lnTo>
                <a:lnTo>
                  <a:pt x="0" y="1365466"/>
                </a:lnTo>
                <a:cubicBezTo>
                  <a:pt x="0" y="611340"/>
                  <a:pt x="611340" y="0"/>
                  <a:pt x="1365466"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4" name="Group 58">
            <a:extLst>
              <a:ext uri="{FF2B5EF4-FFF2-40B4-BE49-F238E27FC236}">
                <a16:creationId xmlns:a16="http://schemas.microsoft.com/office/drawing/2014/main" id="{56B78595-3DD2-450F-B4F1-AA75B2D609CF}"/>
              </a:ext>
            </a:extLst>
          </p:cNvPr>
          <p:cNvGrpSpPr>
            <a:grpSpLocks noChangeAspect="1"/>
          </p:cNvGrpSpPr>
          <p:nvPr userDrawn="1"/>
        </p:nvGrpSpPr>
        <p:grpSpPr bwMode="auto">
          <a:xfrm>
            <a:off x="450560" y="340429"/>
            <a:ext cx="482890" cy="486927"/>
            <a:chOff x="3544" y="339"/>
            <a:chExt cx="2392" cy="2412"/>
          </a:xfrm>
        </p:grpSpPr>
        <p:sp>
          <p:nvSpPr>
            <p:cNvPr id="6" name="Freeform 60">
              <a:extLst>
                <a:ext uri="{FF2B5EF4-FFF2-40B4-BE49-F238E27FC236}">
                  <a16:creationId xmlns:a16="http://schemas.microsoft.com/office/drawing/2014/main" id="{76F0C039-8277-45C0-B215-44E04E780562}"/>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1">
              <a:extLst>
                <a:ext uri="{FF2B5EF4-FFF2-40B4-BE49-F238E27FC236}">
                  <a16:creationId xmlns:a16="http://schemas.microsoft.com/office/drawing/2014/main" id="{16A13F73-0F17-4C62-8727-8A392E055C41}"/>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2">
              <a:extLst>
                <a:ext uri="{FF2B5EF4-FFF2-40B4-BE49-F238E27FC236}">
                  <a16:creationId xmlns:a16="http://schemas.microsoft.com/office/drawing/2014/main" id="{10195139-198D-4165-B859-1B3440D5DDEE}"/>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3">
              <a:extLst>
                <a:ext uri="{FF2B5EF4-FFF2-40B4-BE49-F238E27FC236}">
                  <a16:creationId xmlns:a16="http://schemas.microsoft.com/office/drawing/2014/main" id="{57DCE0AA-CEFB-47AE-BF5E-B59AA054DB99}"/>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4">
              <a:extLst>
                <a:ext uri="{FF2B5EF4-FFF2-40B4-BE49-F238E27FC236}">
                  <a16:creationId xmlns:a16="http://schemas.microsoft.com/office/drawing/2014/main" id="{1E44CD1C-7723-410F-8A1E-E1A383AA75CA}"/>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5">
              <a:extLst>
                <a:ext uri="{FF2B5EF4-FFF2-40B4-BE49-F238E27FC236}">
                  <a16:creationId xmlns:a16="http://schemas.microsoft.com/office/drawing/2014/main" id="{43618241-534F-4A73-AA2A-E39BCBC1653F}"/>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6">
              <a:extLst>
                <a:ext uri="{FF2B5EF4-FFF2-40B4-BE49-F238E27FC236}">
                  <a16:creationId xmlns:a16="http://schemas.microsoft.com/office/drawing/2014/main" id="{488ABB72-1743-4D14-B423-5494BFB59D73}"/>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7">
              <a:extLst>
                <a:ext uri="{FF2B5EF4-FFF2-40B4-BE49-F238E27FC236}">
                  <a16:creationId xmlns:a16="http://schemas.microsoft.com/office/drawing/2014/main" id="{73E7D115-89D2-4E21-91DA-52F2DCB12A1D}"/>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8">
              <a:extLst>
                <a:ext uri="{FF2B5EF4-FFF2-40B4-BE49-F238E27FC236}">
                  <a16:creationId xmlns:a16="http://schemas.microsoft.com/office/drawing/2014/main" id="{99ABC354-D313-4AFB-B6F1-B557ACE3BDF3}"/>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EB60A5E7-18D2-4FD2-8B96-E999DB2D7398}"/>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0">
              <a:extLst>
                <a:ext uri="{FF2B5EF4-FFF2-40B4-BE49-F238E27FC236}">
                  <a16:creationId xmlns:a16="http://schemas.microsoft.com/office/drawing/2014/main" id="{B8417457-A44F-4E0D-BDCB-A395454B3E3F}"/>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1">
              <a:extLst>
                <a:ext uri="{FF2B5EF4-FFF2-40B4-BE49-F238E27FC236}">
                  <a16:creationId xmlns:a16="http://schemas.microsoft.com/office/drawing/2014/main" id="{0489FE36-A4FB-4BC2-A4A1-F00361FB14CF}"/>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2">
              <a:extLst>
                <a:ext uri="{FF2B5EF4-FFF2-40B4-BE49-F238E27FC236}">
                  <a16:creationId xmlns:a16="http://schemas.microsoft.com/office/drawing/2014/main" id="{18A6AEC5-9DE5-4988-9F42-93B442C89A8B}"/>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3">
              <a:extLst>
                <a:ext uri="{FF2B5EF4-FFF2-40B4-BE49-F238E27FC236}">
                  <a16:creationId xmlns:a16="http://schemas.microsoft.com/office/drawing/2014/main" id="{1CCC2CFE-6A73-40F5-A038-95CC234F0055}"/>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Shape 19">
            <a:extLst>
              <a:ext uri="{FF2B5EF4-FFF2-40B4-BE49-F238E27FC236}">
                <a16:creationId xmlns:a16="http://schemas.microsoft.com/office/drawing/2014/main" id="{B0BCC452-9941-4D22-B579-66A07227AB7A}"/>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4297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6F3E7FE-955B-47BC-86A3-BC3E83F422DC}"/>
              </a:ext>
            </a:extLst>
          </p:cNvPr>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205490 h 6858000"/>
              <a:gd name="connsiteX3" fmla="*/ 12165319 w 12192000"/>
              <a:gd name="connsiteY3" fmla="*/ 2248565 h 6858000"/>
              <a:gd name="connsiteX4" fmla="*/ 11480576 w 12192000"/>
              <a:gd name="connsiteY4" fmla="*/ 3032506 h 6858000"/>
              <a:gd name="connsiteX5" fmla="*/ 6367578 w 12192000"/>
              <a:gd name="connsiteY5" fmla="*/ 4301975 h 6858000"/>
              <a:gd name="connsiteX6" fmla="*/ 4950418 w 12192000"/>
              <a:gd name="connsiteY6" fmla="*/ 6747472 h 6858000"/>
              <a:gd name="connsiteX7" fmla="*/ 4895005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2205490"/>
                </a:lnTo>
                <a:lnTo>
                  <a:pt x="12165319" y="2248565"/>
                </a:lnTo>
                <a:cubicBezTo>
                  <a:pt x="12001514" y="2497765"/>
                  <a:pt x="11790135" y="2756572"/>
                  <a:pt x="11480576" y="3032506"/>
                </a:cubicBezTo>
                <a:cubicBezTo>
                  <a:pt x="10065453" y="4293916"/>
                  <a:pt x="7630974" y="3557478"/>
                  <a:pt x="6367578" y="4301975"/>
                </a:cubicBezTo>
                <a:cubicBezTo>
                  <a:pt x="5498992" y="4813818"/>
                  <a:pt x="5387378" y="5805063"/>
                  <a:pt x="4950418" y="6747472"/>
                </a:cubicBezTo>
                <a:lnTo>
                  <a:pt x="4895005" y="6858000"/>
                </a:lnTo>
                <a:lnTo>
                  <a:pt x="0" y="6858000"/>
                </a:ln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3" name="Picture 2">
            <a:extLst>
              <a:ext uri="{FF2B5EF4-FFF2-40B4-BE49-F238E27FC236}">
                <a16:creationId xmlns:a16="http://schemas.microsoft.com/office/drawing/2014/main" id="{53B42353-A562-41DB-85A0-447E6FC655E7}"/>
              </a:ext>
            </a:extLst>
          </p:cNvPr>
          <p:cNvPicPr>
            <a:picLocks noChangeAspect="1"/>
          </p:cNvPicPr>
          <p:nvPr userDrawn="1"/>
        </p:nvPicPr>
        <p:blipFill>
          <a:blip r:embed="rId2"/>
          <a:stretch>
            <a:fillRect/>
          </a:stretch>
        </p:blipFill>
        <p:spPr>
          <a:xfrm flipH="1">
            <a:off x="8864967" y="1028700"/>
            <a:ext cx="2134872" cy="4260813"/>
          </a:xfrm>
          <a:prstGeom prst="rect">
            <a:avLst/>
          </a:prstGeom>
          <a:effectLst>
            <a:outerShdw blurRad="1041400" dist="203200" dir="5400000" sx="94000" sy="94000" algn="t" rotWithShape="0">
              <a:prstClr val="black">
                <a:alpha val="40000"/>
              </a:prstClr>
            </a:outerShdw>
          </a:effectLst>
        </p:spPr>
      </p:pic>
      <p:pic>
        <p:nvPicPr>
          <p:cNvPr id="4" name="Picture 3">
            <a:extLst>
              <a:ext uri="{FF2B5EF4-FFF2-40B4-BE49-F238E27FC236}">
                <a16:creationId xmlns:a16="http://schemas.microsoft.com/office/drawing/2014/main" id="{7FB2A2ED-41B6-4AD1-BB9C-82AA1F9F8382}"/>
              </a:ext>
            </a:extLst>
          </p:cNvPr>
          <p:cNvPicPr>
            <a:picLocks noChangeAspect="1"/>
          </p:cNvPicPr>
          <p:nvPr userDrawn="1"/>
        </p:nvPicPr>
        <p:blipFill>
          <a:blip r:embed="rId2"/>
          <a:stretch>
            <a:fillRect/>
          </a:stretch>
        </p:blipFill>
        <p:spPr>
          <a:xfrm flipH="1">
            <a:off x="6414277" y="3159106"/>
            <a:ext cx="2134872" cy="4260813"/>
          </a:xfrm>
          <a:prstGeom prst="rect">
            <a:avLst/>
          </a:prstGeom>
          <a:effectLst>
            <a:outerShdw blurRad="1041400" dist="203200" dir="5400000" sx="94000" sy="94000" algn="t" rotWithShape="0">
              <a:prstClr val="black">
                <a:alpha val="40000"/>
              </a:prstClr>
            </a:outerShdw>
          </a:effectLst>
        </p:spPr>
      </p:pic>
      <p:sp>
        <p:nvSpPr>
          <p:cNvPr id="5" name="Picture Placeholder 4">
            <a:extLst>
              <a:ext uri="{FF2B5EF4-FFF2-40B4-BE49-F238E27FC236}">
                <a16:creationId xmlns:a16="http://schemas.microsoft.com/office/drawing/2014/main" id="{DC200819-AA19-4D10-808A-C665E236E906}"/>
              </a:ext>
            </a:extLst>
          </p:cNvPr>
          <p:cNvSpPr>
            <a:spLocks noGrp="1"/>
          </p:cNvSpPr>
          <p:nvPr>
            <p:ph type="pic" sz="quarter" idx="14"/>
          </p:nvPr>
        </p:nvSpPr>
        <p:spPr>
          <a:xfrm>
            <a:off x="9034882" y="113764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
        <p:nvSpPr>
          <p:cNvPr id="6" name="Picture Placeholder 5">
            <a:extLst>
              <a:ext uri="{FF2B5EF4-FFF2-40B4-BE49-F238E27FC236}">
                <a16:creationId xmlns:a16="http://schemas.microsoft.com/office/drawing/2014/main" id="{E365D105-ADF1-41D2-909D-41365B0FF242}"/>
              </a:ext>
            </a:extLst>
          </p:cNvPr>
          <p:cNvSpPr>
            <a:spLocks noGrp="1"/>
          </p:cNvSpPr>
          <p:nvPr>
            <p:ph type="pic" sz="quarter" idx="15"/>
          </p:nvPr>
        </p:nvSpPr>
        <p:spPr>
          <a:xfrm>
            <a:off x="6584191" y="328907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147804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ppt_x"/>
                                          </p:val>
                                        </p:tav>
                                        <p:tav tm="100000">
                                          <p:val>
                                            <p:strVal val="#ppt_x"/>
                                          </p:val>
                                        </p:tav>
                                      </p:tavLst>
                                    </p:anim>
                                    <p:anim calcmode="lin" valueType="num">
                                      <p:cBhvr additive="base">
                                        <p:cTn id="11" dur="1000" fill="hold"/>
                                        <p:tgtEl>
                                          <p:spTgt spid="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2" presetClass="entr" presetSubtype="4" decel="100000" fill="hold" nodeType="withEffect">
                                  <p:stCondLst>
                                    <p:cond delay="5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1000" fill="hold"/>
                                        <p:tgtEl>
                                          <p:spTgt spid="3"/>
                                        </p:tgtEl>
                                        <p:attrNameLst>
                                          <p:attrName>ppt_x</p:attrName>
                                        </p:attrNameLst>
                                      </p:cBhvr>
                                      <p:tavLst>
                                        <p:tav tm="0">
                                          <p:val>
                                            <p:strVal val="#ppt_x"/>
                                          </p:val>
                                        </p:tav>
                                        <p:tav tm="100000">
                                          <p:val>
                                            <p:strVal val="#ppt_x"/>
                                          </p:val>
                                        </p:tav>
                                      </p:tavLst>
                                    </p:anim>
                                    <p:anim calcmode="lin" valueType="num">
                                      <p:cBhvr additive="base">
                                        <p:cTn id="18" dur="1000" fill="hold"/>
                                        <p:tgtEl>
                                          <p:spTgt spid="3"/>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50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10" name="Tijdelijke aanduiding voor tekst 7">
            <a:extLst>
              <a:ext uri="{FF2B5EF4-FFF2-40B4-BE49-F238E27FC236}">
                <a16:creationId xmlns:a16="http://schemas.microsoft.com/office/drawing/2014/main" id="{7D6FAD1E-DC67-4F16-ACF4-4B4C62BD3134}"/>
              </a:ext>
            </a:extLst>
          </p:cNvPr>
          <p:cNvSpPr>
            <a:spLocks noGrp="1"/>
          </p:cNvSpPr>
          <p:nvPr>
            <p:ph type="body" sz="quarter" idx="20" hasCustomPrompt="1"/>
          </p:nvPr>
        </p:nvSpPr>
        <p:spPr>
          <a:xfrm>
            <a:off x="6228727" y="1447800"/>
            <a:ext cx="5556873" cy="574311"/>
          </a:xfrm>
        </p:spPr>
        <p:txBody>
          <a:bodyPr vert="horz" lIns="0" tIns="144000" rIns="72000" bIns="0" rtlCol="0">
            <a:noAutofit/>
          </a:bodyPr>
          <a:lstStyle>
            <a:lvl1pPr marL="0" indent="0">
              <a:buNone/>
              <a:defRPr lang="en-US" sz="1200" b="1" cap="all"/>
            </a:lvl1pPr>
          </a:lstStyle>
          <a:p>
            <a:pPr marL="263525" lvl="0" indent="-263525"/>
            <a:r>
              <a:rPr lang="en-US"/>
              <a:t>Edit Master text styles</a:t>
            </a:r>
          </a:p>
        </p:txBody>
      </p:sp>
      <p:sp>
        <p:nvSpPr>
          <p:cNvPr id="11" name="Tijdelijke aanduiding voor tekst 4">
            <a:extLst>
              <a:ext uri="{FF2B5EF4-FFF2-40B4-BE49-F238E27FC236}">
                <a16:creationId xmlns:a16="http://schemas.microsoft.com/office/drawing/2014/main" id="{A246BFD8-6DC9-40D7-9057-29AA513BBCEF}"/>
              </a:ext>
            </a:extLst>
          </p:cNvPr>
          <p:cNvSpPr>
            <a:spLocks noGrp="1"/>
          </p:cNvSpPr>
          <p:nvPr>
            <p:ph type="body" sz="quarter" idx="21" hasCustomPrompt="1"/>
          </p:nvPr>
        </p:nvSpPr>
        <p:spPr>
          <a:xfrm>
            <a:off x="6228727" y="2023700"/>
            <a:ext cx="5556873" cy="4212000"/>
          </a:xfrm>
        </p:spPr>
        <p:txBody>
          <a:bodyPr vert="horz" lIns="0" tIns="0" rIns="72000" bIns="0" rtlCol="0">
            <a:no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jdelijke aanduiding voor tekst 4">
            <a:extLst>
              <a:ext uri="{FF2B5EF4-FFF2-40B4-BE49-F238E27FC236}">
                <a16:creationId xmlns:a16="http://schemas.microsoft.com/office/drawing/2014/main" id="{1F6DACCB-DA33-4AA5-B8E8-0C26C7BFCBEE}"/>
              </a:ext>
            </a:extLst>
          </p:cNvPr>
          <p:cNvSpPr>
            <a:spLocks noGrp="1"/>
          </p:cNvSpPr>
          <p:nvPr>
            <p:ph type="body" sz="quarter" idx="22" hasCustomPrompt="1"/>
          </p:nvPr>
        </p:nvSpPr>
        <p:spPr>
          <a:xfrm>
            <a:off x="407365" y="2023700"/>
            <a:ext cx="5556873" cy="4212000"/>
          </a:xfrm>
        </p:spPr>
        <p:txBody>
          <a:bodyPr vert="horz" lIns="0" tIns="0" rIns="7200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jdelijke aanduiding voor tekst 7">
            <a:extLst>
              <a:ext uri="{FF2B5EF4-FFF2-40B4-BE49-F238E27FC236}">
                <a16:creationId xmlns:a16="http://schemas.microsoft.com/office/drawing/2014/main" id="{58A57528-0814-4809-8DA4-DFA8F44AE94C}"/>
              </a:ext>
            </a:extLst>
          </p:cNvPr>
          <p:cNvSpPr>
            <a:spLocks noGrp="1"/>
          </p:cNvSpPr>
          <p:nvPr>
            <p:ph type="body" sz="quarter" idx="23" hasCustomPrompt="1"/>
          </p:nvPr>
        </p:nvSpPr>
        <p:spPr>
          <a:xfrm>
            <a:off x="407365" y="1447800"/>
            <a:ext cx="5556873" cy="574311"/>
          </a:xfrm>
        </p:spPr>
        <p:txBody>
          <a:bodyPr vert="horz" lIns="0" tIns="144000" rIns="72000" bIns="0" rtlCol="0">
            <a:noAutofit/>
          </a:bodyPr>
          <a:lstStyle>
            <a:lvl1pPr marL="0" indent="0">
              <a:buNone/>
              <a:defRPr lang="en-US" sz="1200" b="1" cap="all" dirty="0"/>
            </a:lvl1pPr>
          </a:lstStyle>
          <a:p>
            <a:pPr marL="263525" lvl="0" indent="-263525"/>
            <a:r>
              <a:rPr lang="en-US"/>
              <a:t>Edit Master text styles</a:t>
            </a:r>
          </a:p>
        </p:txBody>
      </p:sp>
    </p:spTree>
    <p:extLst>
      <p:ext uri="{BB962C8B-B14F-4D97-AF65-F5344CB8AC3E}">
        <p14:creationId xmlns:p14="http://schemas.microsoft.com/office/powerpoint/2010/main" val="325690365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F4D995FA-B3E7-4C85-81DC-B0690DBE6082}"/>
              </a:ext>
            </a:extLst>
          </p:cNvPr>
          <p:cNvSpPr/>
          <p:nvPr userDrawn="1"/>
        </p:nvSpPr>
        <p:spPr>
          <a:xfrm flipH="1">
            <a:off x="1302724" y="-1"/>
            <a:ext cx="10889276" cy="6858001"/>
          </a:xfrm>
          <a:custGeom>
            <a:avLst/>
            <a:gdLst>
              <a:gd name="connsiteX0" fmla="*/ 6960028 w 10889276"/>
              <a:gd name="connsiteY0" fmla="*/ 0 h 6858001"/>
              <a:gd name="connsiteX1" fmla="*/ 0 w 10889276"/>
              <a:gd name="connsiteY1" fmla="*/ 0 h 6858001"/>
              <a:gd name="connsiteX2" fmla="*/ 0 w 10889276"/>
              <a:gd name="connsiteY2" fmla="*/ 5357607 h 6858001"/>
              <a:gd name="connsiteX3" fmla="*/ 156243 w 10889276"/>
              <a:gd name="connsiteY3" fmla="*/ 5401225 h 6858001"/>
              <a:gd name="connsiteX4" fmla="*/ 3014163 w 10889276"/>
              <a:gd name="connsiteY4" fmla="*/ 6713912 h 6858001"/>
              <a:gd name="connsiteX5" fmla="*/ 3219206 w 10889276"/>
              <a:gd name="connsiteY5" fmla="*/ 6858001 h 6858001"/>
              <a:gd name="connsiteX6" fmla="*/ 10889276 w 10889276"/>
              <a:gd name="connsiteY6" fmla="*/ 6858001 h 6858001"/>
              <a:gd name="connsiteX7" fmla="*/ 10864819 w 10889276"/>
              <a:gd name="connsiteY7" fmla="*/ 6666160 h 6858001"/>
              <a:gd name="connsiteX8" fmla="*/ 7008687 w 10889276"/>
              <a:gd name="connsiteY8" fmla="*/ 416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9276" h="6858001">
                <a:moveTo>
                  <a:pt x="6960028" y="0"/>
                </a:moveTo>
                <a:lnTo>
                  <a:pt x="0" y="0"/>
                </a:lnTo>
                <a:lnTo>
                  <a:pt x="0" y="5357607"/>
                </a:lnTo>
                <a:lnTo>
                  <a:pt x="156243" y="5401225"/>
                </a:lnTo>
                <a:cubicBezTo>
                  <a:pt x="1211509" y="5711320"/>
                  <a:pt x="2176792" y="6158477"/>
                  <a:pt x="3014163" y="6713912"/>
                </a:cubicBezTo>
                <a:lnTo>
                  <a:pt x="3219206" y="6858001"/>
                </a:lnTo>
                <a:lnTo>
                  <a:pt x="10889276" y="6858001"/>
                </a:lnTo>
                <a:lnTo>
                  <a:pt x="10864819" y="6666160"/>
                </a:lnTo>
                <a:cubicBezTo>
                  <a:pt x="10474882" y="4148223"/>
                  <a:pt x="9086676" y="1862008"/>
                  <a:pt x="7008687" y="41613"/>
                </a:cubicBez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6" name="Picture 5">
            <a:extLst>
              <a:ext uri="{FF2B5EF4-FFF2-40B4-BE49-F238E27FC236}">
                <a16:creationId xmlns:a16="http://schemas.microsoft.com/office/drawing/2014/main" id="{F7F9ED00-924B-445E-B61C-3DA2DF92513A}"/>
              </a:ext>
            </a:extLst>
          </p:cNvPr>
          <p:cNvPicPr>
            <a:picLocks noChangeAspect="1"/>
          </p:cNvPicPr>
          <p:nvPr userDrawn="1"/>
        </p:nvPicPr>
        <p:blipFill>
          <a:blip r:embed="rId2"/>
          <a:stretch>
            <a:fillRect/>
          </a:stretch>
        </p:blipFill>
        <p:spPr>
          <a:xfrm rot="18900000" flipH="1">
            <a:off x="-269160" y="2369910"/>
            <a:ext cx="2134872" cy="4260813"/>
          </a:xfrm>
          <a:prstGeom prst="rect">
            <a:avLst/>
          </a:prstGeom>
          <a:effectLst>
            <a:outerShdw blurRad="1041400" dist="203200" dir="5400000" sx="94000" sy="94000" algn="t" rotWithShape="0">
              <a:prstClr val="black">
                <a:alpha val="40000"/>
              </a:prstClr>
            </a:outerShdw>
          </a:effectLst>
        </p:spPr>
      </p:pic>
      <p:sp>
        <p:nvSpPr>
          <p:cNvPr id="24" name="Picture Placeholder 23">
            <a:extLst>
              <a:ext uri="{FF2B5EF4-FFF2-40B4-BE49-F238E27FC236}">
                <a16:creationId xmlns:a16="http://schemas.microsoft.com/office/drawing/2014/main" id="{DCD75744-AAAA-43AE-AA76-448DEF440BB0}"/>
              </a:ext>
            </a:extLst>
          </p:cNvPr>
          <p:cNvSpPr>
            <a:spLocks noGrp="1"/>
          </p:cNvSpPr>
          <p:nvPr>
            <p:ph type="pic" sz="quarter" idx="18"/>
          </p:nvPr>
        </p:nvSpPr>
        <p:spPr>
          <a:xfrm rot="18900000">
            <a:off x="-127543" y="250347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7" name="Picture 6">
            <a:extLst>
              <a:ext uri="{FF2B5EF4-FFF2-40B4-BE49-F238E27FC236}">
                <a16:creationId xmlns:a16="http://schemas.microsoft.com/office/drawing/2014/main" id="{897BD687-951E-4786-ADBE-4613625F60EF}"/>
              </a:ext>
            </a:extLst>
          </p:cNvPr>
          <p:cNvPicPr>
            <a:picLocks noChangeAspect="1"/>
          </p:cNvPicPr>
          <p:nvPr userDrawn="1"/>
        </p:nvPicPr>
        <p:blipFill>
          <a:blip r:embed="rId2"/>
          <a:stretch>
            <a:fillRect/>
          </a:stretch>
        </p:blipFill>
        <p:spPr>
          <a:xfrm rot="18900000" flipH="1">
            <a:off x="3353854" y="4905982"/>
            <a:ext cx="2134872" cy="4260813"/>
          </a:xfrm>
          <a:prstGeom prst="rect">
            <a:avLst/>
          </a:prstGeom>
          <a:effectLst>
            <a:outerShdw blurRad="1041400" dist="203200" dir="5400000" sx="94000" sy="94000" algn="t" rotWithShape="0">
              <a:prstClr val="black">
                <a:alpha val="40000"/>
              </a:prstClr>
            </a:outerShdw>
          </a:effectLst>
        </p:spPr>
      </p:pic>
      <p:sp>
        <p:nvSpPr>
          <p:cNvPr id="23" name="Picture Placeholder 22">
            <a:extLst>
              <a:ext uri="{FF2B5EF4-FFF2-40B4-BE49-F238E27FC236}">
                <a16:creationId xmlns:a16="http://schemas.microsoft.com/office/drawing/2014/main" id="{7D089083-BC85-40C8-B603-77D59D428B05}"/>
              </a:ext>
            </a:extLst>
          </p:cNvPr>
          <p:cNvSpPr>
            <a:spLocks noGrp="1"/>
          </p:cNvSpPr>
          <p:nvPr>
            <p:ph type="pic" sz="quarter" idx="17"/>
          </p:nvPr>
        </p:nvSpPr>
        <p:spPr>
          <a:xfrm rot="18900000">
            <a:off x="3495471" y="5039548"/>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5" name="Picture 4">
            <a:extLst>
              <a:ext uri="{FF2B5EF4-FFF2-40B4-BE49-F238E27FC236}">
                <a16:creationId xmlns:a16="http://schemas.microsoft.com/office/drawing/2014/main" id="{2AEBFAFD-D7A4-446D-9FDC-DF735D83F05C}"/>
              </a:ext>
            </a:extLst>
          </p:cNvPr>
          <p:cNvPicPr>
            <a:picLocks noChangeAspect="1"/>
          </p:cNvPicPr>
          <p:nvPr userDrawn="1"/>
        </p:nvPicPr>
        <p:blipFill>
          <a:blip r:embed="rId2"/>
          <a:stretch>
            <a:fillRect/>
          </a:stretch>
        </p:blipFill>
        <p:spPr>
          <a:xfrm rot="18900000" flipH="1">
            <a:off x="5027364" y="3365020"/>
            <a:ext cx="2134872" cy="4260813"/>
          </a:xfrm>
          <a:prstGeom prst="rect">
            <a:avLst/>
          </a:prstGeom>
          <a:effectLst>
            <a:outerShdw blurRad="1041400" dist="203200" dir="5400000" sx="94000" sy="94000" algn="t" rotWithShape="0">
              <a:prstClr val="black">
                <a:alpha val="40000"/>
              </a:prstClr>
            </a:outerShdw>
          </a:effectLst>
        </p:spPr>
      </p:pic>
      <p:sp>
        <p:nvSpPr>
          <p:cNvPr id="20" name="Picture Placeholder 19">
            <a:extLst>
              <a:ext uri="{FF2B5EF4-FFF2-40B4-BE49-F238E27FC236}">
                <a16:creationId xmlns:a16="http://schemas.microsoft.com/office/drawing/2014/main" id="{C3AFB9C4-2015-4262-ABA8-F69D59E46C09}"/>
              </a:ext>
            </a:extLst>
          </p:cNvPr>
          <p:cNvSpPr>
            <a:spLocks noGrp="1"/>
          </p:cNvSpPr>
          <p:nvPr>
            <p:ph type="pic" sz="quarter" idx="15"/>
          </p:nvPr>
        </p:nvSpPr>
        <p:spPr>
          <a:xfrm rot="18900000">
            <a:off x="5168981" y="349858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4" name="Picture 3">
            <a:extLst>
              <a:ext uri="{FF2B5EF4-FFF2-40B4-BE49-F238E27FC236}">
                <a16:creationId xmlns:a16="http://schemas.microsoft.com/office/drawing/2014/main" id="{1D8E0078-1917-4C62-AAB1-A7AF84E990E2}"/>
              </a:ext>
            </a:extLst>
          </p:cNvPr>
          <p:cNvPicPr>
            <a:picLocks noChangeAspect="1"/>
          </p:cNvPicPr>
          <p:nvPr userDrawn="1"/>
        </p:nvPicPr>
        <p:blipFill>
          <a:blip r:embed="rId2"/>
          <a:stretch>
            <a:fillRect/>
          </a:stretch>
        </p:blipFill>
        <p:spPr>
          <a:xfrm rot="18900000" flipH="1">
            <a:off x="1345289" y="828946"/>
            <a:ext cx="2134872" cy="4260813"/>
          </a:xfrm>
          <a:prstGeom prst="rect">
            <a:avLst/>
          </a:prstGeom>
          <a:effectLst>
            <a:outerShdw blurRad="1041400" dist="203200" dir="5400000" sx="94000" sy="94000" algn="t" rotWithShape="0">
              <a:prstClr val="black">
                <a:alpha val="40000"/>
              </a:prstClr>
            </a:outerShdw>
          </a:effectLst>
        </p:spPr>
      </p:pic>
      <p:sp>
        <p:nvSpPr>
          <p:cNvPr id="19" name="Picture Placeholder 18">
            <a:extLst>
              <a:ext uri="{FF2B5EF4-FFF2-40B4-BE49-F238E27FC236}">
                <a16:creationId xmlns:a16="http://schemas.microsoft.com/office/drawing/2014/main" id="{21376848-27FA-4BF6-AE66-4FA5C9776F58}"/>
              </a:ext>
            </a:extLst>
          </p:cNvPr>
          <p:cNvSpPr>
            <a:spLocks noGrp="1"/>
          </p:cNvSpPr>
          <p:nvPr>
            <p:ph type="pic" sz="quarter" idx="14"/>
          </p:nvPr>
        </p:nvSpPr>
        <p:spPr>
          <a:xfrm rot="18900000">
            <a:off x="1486908" y="962512"/>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4021821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2" presetClass="entr" presetSubtype="12" decel="10000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1000" fill="hold"/>
                                        <p:tgtEl>
                                          <p:spTgt spid="6"/>
                                        </p:tgtEl>
                                        <p:attrNameLst>
                                          <p:attrName>ppt_x</p:attrName>
                                        </p:attrNameLst>
                                      </p:cBhvr>
                                      <p:tavLst>
                                        <p:tav tm="0">
                                          <p:val>
                                            <p:strVal val="0-#ppt_w/2"/>
                                          </p:val>
                                        </p:tav>
                                        <p:tav tm="100000">
                                          <p:val>
                                            <p:strVal val="#ppt_x"/>
                                          </p:val>
                                        </p:tav>
                                      </p:tavLst>
                                    </p:anim>
                                    <p:anim calcmode="lin" valueType="num">
                                      <p:cBhvr additive="base">
                                        <p:cTn id="11" dur="1000" fill="hold"/>
                                        <p:tgtEl>
                                          <p:spTgt spid="6"/>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0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2" presetClass="entr" presetSubtype="12" decel="10000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0-#ppt_w/2"/>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00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2" presetClass="entr" presetSubtype="12" decel="10000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000" fill="hold"/>
                                        <p:tgtEl>
                                          <p:spTgt spid="7"/>
                                        </p:tgtEl>
                                        <p:attrNameLst>
                                          <p:attrName>ppt_x</p:attrName>
                                        </p:attrNameLst>
                                      </p:cBhvr>
                                      <p:tavLst>
                                        <p:tav tm="0">
                                          <p:val>
                                            <p:strVal val="0-#ppt_w/2"/>
                                          </p:val>
                                        </p:tav>
                                        <p:tav tm="100000">
                                          <p:val>
                                            <p:strVal val="#ppt_x"/>
                                          </p:val>
                                        </p:tav>
                                      </p:tavLst>
                                    </p:anim>
                                    <p:anim calcmode="lin" valueType="num">
                                      <p:cBhvr additive="base">
                                        <p:cTn id="25" dur="1000" fill="hold"/>
                                        <p:tgtEl>
                                          <p:spTgt spid="7"/>
                                        </p:tgtEl>
                                        <p:attrNameLst>
                                          <p:attrName>ppt_y</p:attrName>
                                        </p:attrNameLst>
                                      </p:cBhvr>
                                      <p:tavLst>
                                        <p:tav tm="0">
                                          <p:val>
                                            <p:strVal val="1+#ppt_h/2"/>
                                          </p:val>
                                        </p:tav>
                                        <p:tav tm="100000">
                                          <p:val>
                                            <p:strVal val="#ppt_y"/>
                                          </p:val>
                                        </p:tav>
                                      </p:tavLst>
                                    </p:anim>
                                  </p:childTnLst>
                                </p:cTn>
                              </p:par>
                              <p:par>
                                <p:cTn id="26" presetID="10" presetClass="entr" presetSubtype="0" fill="hold" grpId="0"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2" presetClass="entr" presetSubtype="12" decel="10000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000" fill="hold"/>
                                        <p:tgtEl>
                                          <p:spTgt spid="5"/>
                                        </p:tgtEl>
                                        <p:attrNameLst>
                                          <p:attrName>ppt_x</p:attrName>
                                        </p:attrNameLst>
                                      </p:cBhvr>
                                      <p:tavLst>
                                        <p:tav tm="0">
                                          <p:val>
                                            <p:strVal val="0-#ppt_w/2"/>
                                          </p:val>
                                        </p:tav>
                                        <p:tav tm="100000">
                                          <p:val>
                                            <p:strVal val="#ppt_x"/>
                                          </p:val>
                                        </p:tav>
                                      </p:tavLst>
                                    </p:anim>
                                    <p:anim calcmode="lin" valueType="num">
                                      <p:cBhvr additive="base">
                                        <p:cTn id="32" dur="1000" fill="hold"/>
                                        <p:tgtEl>
                                          <p:spTgt spid="5"/>
                                        </p:tgtEl>
                                        <p:attrNameLst>
                                          <p:attrName>ppt_y</p:attrName>
                                        </p:attrNameLst>
                                      </p:cBhvr>
                                      <p:tavLst>
                                        <p:tav tm="0">
                                          <p:val>
                                            <p:strVal val="1+#ppt_h/2"/>
                                          </p:val>
                                        </p:tav>
                                        <p:tav tm="100000">
                                          <p:val>
                                            <p:strVal val="#ppt_y"/>
                                          </p:val>
                                        </p:tav>
                                      </p:tavLst>
                                    </p:anim>
                                  </p:childTnLst>
                                </p:cTn>
                              </p:par>
                              <p:par>
                                <p:cTn id="33" presetID="10" presetClass="entr" presetSubtype="0" fill="hold" grpId="0" nodeType="withEffect">
                                  <p:stCondLst>
                                    <p:cond delay="100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4" grpId="0" animBg="1"/>
      <p:bldP spid="23" grpId="0" animBg="1"/>
      <p:bldP spid="20" grpId="0" animBg="1"/>
      <p:bldP spid="19"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095500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63E4183-98D0-40B0-AB06-4F80516B1A6B}"/>
              </a:ext>
            </a:extLst>
          </p:cNvPr>
          <p:cNvSpPr>
            <a:spLocks noGrp="1"/>
          </p:cNvSpPr>
          <p:nvPr>
            <p:ph type="pic" sz="quarter" idx="10" hasCustomPrompt="1"/>
          </p:nvPr>
        </p:nvSpPr>
        <p:spPr>
          <a:xfrm>
            <a:off x="0" y="2640806"/>
            <a:ext cx="12192000" cy="4217194"/>
          </a:xfrm>
          <a:custGeom>
            <a:avLst/>
            <a:gdLst>
              <a:gd name="connsiteX0" fmla="*/ 6119978 w 12192000"/>
              <a:gd name="connsiteY0" fmla="*/ 0 h 4762500"/>
              <a:gd name="connsiteX1" fmla="*/ 11961159 w 12192000"/>
              <a:gd name="connsiteY1" fmla="*/ 1711264 h 4762500"/>
              <a:gd name="connsiteX2" fmla="*/ 12192000 w 12192000"/>
              <a:gd name="connsiteY2" fmla="*/ 1871113 h 4762500"/>
              <a:gd name="connsiteX3" fmla="*/ 12192000 w 12192000"/>
              <a:gd name="connsiteY3" fmla="*/ 4762500 h 4762500"/>
              <a:gd name="connsiteX4" fmla="*/ 0 w 12192000"/>
              <a:gd name="connsiteY4" fmla="*/ 4762500 h 4762500"/>
              <a:gd name="connsiteX5" fmla="*/ 0 w 12192000"/>
              <a:gd name="connsiteY5" fmla="*/ 1905788 h 4762500"/>
              <a:gd name="connsiteX6" fmla="*/ 29453 w 12192000"/>
              <a:gd name="connsiteY6" fmla="*/ 1883926 h 4762500"/>
              <a:gd name="connsiteX7" fmla="*/ 6119978 w 12192000"/>
              <a:gd name="connsiteY7"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762500">
                <a:moveTo>
                  <a:pt x="6119978" y="0"/>
                </a:moveTo>
                <a:cubicBezTo>
                  <a:pt x="8328833" y="0"/>
                  <a:pt x="10359209" y="640224"/>
                  <a:pt x="11961159" y="1711264"/>
                </a:cubicBezTo>
                <a:lnTo>
                  <a:pt x="12192000" y="1871113"/>
                </a:lnTo>
                <a:lnTo>
                  <a:pt x="12192000" y="4762500"/>
                </a:lnTo>
                <a:lnTo>
                  <a:pt x="0" y="4762500"/>
                </a:lnTo>
                <a:lnTo>
                  <a:pt x="0" y="1905788"/>
                </a:lnTo>
                <a:lnTo>
                  <a:pt x="29453" y="1883926"/>
                </a:lnTo>
                <a:cubicBezTo>
                  <a:pt x="1667517" y="709389"/>
                  <a:pt x="3794866" y="0"/>
                  <a:pt x="6119978"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AB6D0DBD-93B8-49D7-B677-74C9C0BC640C}"/>
              </a:ext>
            </a:extLst>
          </p:cNvPr>
          <p:cNvSpPr>
            <a:spLocks noGrp="1"/>
          </p:cNvSpPr>
          <p:nvPr>
            <p:ph type="pic" sz="quarter" idx="11" hasCustomPrompt="1"/>
          </p:nvPr>
        </p:nvSpPr>
        <p:spPr>
          <a:xfrm>
            <a:off x="667981" y="2065551"/>
            <a:ext cx="3411267" cy="3411267"/>
          </a:xfrm>
          <a:custGeom>
            <a:avLst/>
            <a:gdLst>
              <a:gd name="connsiteX0" fmla="*/ 0 w 3411267"/>
              <a:gd name="connsiteY0" fmla="*/ 0 h 3411267"/>
              <a:gd name="connsiteX1" fmla="*/ 3411267 w 3411267"/>
              <a:gd name="connsiteY1" fmla="*/ 0 h 3411267"/>
              <a:gd name="connsiteX2" fmla="*/ 3411267 w 3411267"/>
              <a:gd name="connsiteY2" fmla="*/ 3411267 h 3411267"/>
              <a:gd name="connsiteX3" fmla="*/ 0 w 3411267"/>
              <a:gd name="connsiteY3" fmla="*/ 3411267 h 3411267"/>
            </a:gdLst>
            <a:ahLst/>
            <a:cxnLst>
              <a:cxn ang="0">
                <a:pos x="connsiteX0" y="connsiteY0"/>
              </a:cxn>
              <a:cxn ang="0">
                <a:pos x="connsiteX1" y="connsiteY1"/>
              </a:cxn>
              <a:cxn ang="0">
                <a:pos x="connsiteX2" y="connsiteY2"/>
              </a:cxn>
              <a:cxn ang="0">
                <a:pos x="connsiteX3" y="connsiteY3"/>
              </a:cxn>
            </a:cxnLst>
            <a:rect l="l" t="t" r="r" b="b"/>
            <a:pathLst>
              <a:path w="3411267" h="3411267">
                <a:moveTo>
                  <a:pt x="0" y="0"/>
                </a:moveTo>
                <a:lnTo>
                  <a:pt x="3411267" y="0"/>
                </a:lnTo>
                <a:lnTo>
                  <a:pt x="3411267" y="3411267"/>
                </a:lnTo>
                <a:lnTo>
                  <a:pt x="0" y="341126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85637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ppt_x"/>
                                          </p:val>
                                        </p:tav>
                                        <p:tav tm="100000">
                                          <p:val>
                                            <p:strVal val="#ppt_x"/>
                                          </p:val>
                                        </p:tav>
                                      </p:tavLst>
                                    </p:anim>
                                    <p:anim calcmode="lin" valueType="num">
                                      <p:cBhvr additive="base">
                                        <p:cTn id="8" dur="12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4739D5A-8518-43E2-A59C-D7C032279D1B}"/>
              </a:ext>
            </a:extLst>
          </p:cNvPr>
          <p:cNvSpPr>
            <a:spLocks noGrp="1"/>
          </p:cNvSpPr>
          <p:nvPr>
            <p:ph type="pic" sz="quarter" idx="10" hasCustomPrompt="1"/>
          </p:nvPr>
        </p:nvSpPr>
        <p:spPr>
          <a:xfrm>
            <a:off x="0" y="1028700"/>
            <a:ext cx="12192000" cy="5143501"/>
          </a:xfrm>
          <a:custGeom>
            <a:avLst/>
            <a:gdLst>
              <a:gd name="connsiteX0" fmla="*/ 6096000 w 12192000"/>
              <a:gd name="connsiteY0" fmla="*/ 0 h 5143501"/>
              <a:gd name="connsiteX1" fmla="*/ 12192000 w 12192000"/>
              <a:gd name="connsiteY1" fmla="*/ 0 h 5143501"/>
              <a:gd name="connsiteX2" fmla="*/ 12192000 w 12192000"/>
              <a:gd name="connsiteY2" fmla="*/ 5143500 h 5143501"/>
              <a:gd name="connsiteX3" fmla="*/ 6096000 w 12192000"/>
              <a:gd name="connsiteY3" fmla="*/ 5143500 h 5143501"/>
              <a:gd name="connsiteX4" fmla="*/ 6096000 w 12192000"/>
              <a:gd name="connsiteY4" fmla="*/ 5143501 h 5143501"/>
              <a:gd name="connsiteX5" fmla="*/ 0 w 12192000"/>
              <a:gd name="connsiteY5" fmla="*/ 5143501 h 5143501"/>
              <a:gd name="connsiteX6" fmla="*/ 0 w 12192000"/>
              <a:gd name="connsiteY6" fmla="*/ 2400300 h 5143501"/>
              <a:gd name="connsiteX7" fmla="*/ 0 w 12192000"/>
              <a:gd name="connsiteY7" fmla="*/ 1104899 h 5143501"/>
              <a:gd name="connsiteX8" fmla="*/ 0 w 12192000"/>
              <a:gd name="connsiteY8" fmla="*/ 647700 h 5143501"/>
              <a:gd name="connsiteX9" fmla="*/ 6096000 w 12192000"/>
              <a:gd name="connsiteY9" fmla="*/ 647700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5143501">
                <a:moveTo>
                  <a:pt x="6096000" y="0"/>
                </a:moveTo>
                <a:lnTo>
                  <a:pt x="12192000" y="0"/>
                </a:lnTo>
                <a:lnTo>
                  <a:pt x="12192000" y="5143500"/>
                </a:lnTo>
                <a:lnTo>
                  <a:pt x="6096000" y="5143500"/>
                </a:lnTo>
                <a:lnTo>
                  <a:pt x="6096000" y="5143501"/>
                </a:lnTo>
                <a:lnTo>
                  <a:pt x="0" y="5143501"/>
                </a:lnTo>
                <a:lnTo>
                  <a:pt x="0" y="2400300"/>
                </a:lnTo>
                <a:lnTo>
                  <a:pt x="0" y="1104899"/>
                </a:lnTo>
                <a:lnTo>
                  <a:pt x="0" y="647700"/>
                </a:lnTo>
                <a:lnTo>
                  <a:pt x="6096000" y="647700"/>
                </a:lnTo>
                <a:close/>
              </a:path>
            </a:pathLst>
          </a:custGeom>
          <a:solidFill>
            <a:schemeClr val="bg1">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7430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AF82D15-0920-4B87-BB0B-36463CEE75B9}"/>
              </a:ext>
            </a:extLst>
          </p:cNvPr>
          <p:cNvSpPr>
            <a:spLocks noGrp="1"/>
          </p:cNvSpPr>
          <p:nvPr>
            <p:ph type="pic" sz="quarter" idx="11" hasCustomPrompt="1"/>
          </p:nvPr>
        </p:nvSpPr>
        <p:spPr>
          <a:xfrm>
            <a:off x="9867883" y="630006"/>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6" name="Picture Placeholder 25">
            <a:extLst>
              <a:ext uri="{FF2B5EF4-FFF2-40B4-BE49-F238E27FC236}">
                <a16:creationId xmlns:a16="http://schemas.microsoft.com/office/drawing/2014/main" id="{E7F276E6-4211-4AAB-ADC2-AC9AF0715EF9}"/>
              </a:ext>
            </a:extLst>
          </p:cNvPr>
          <p:cNvSpPr>
            <a:spLocks noGrp="1"/>
          </p:cNvSpPr>
          <p:nvPr>
            <p:ph type="pic" sz="quarter" idx="17" hasCustomPrompt="1"/>
          </p:nvPr>
        </p:nvSpPr>
        <p:spPr>
          <a:xfrm>
            <a:off x="838201"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51EFEBA7-31D2-4378-A986-27075D0E0704}"/>
              </a:ext>
            </a:extLst>
          </p:cNvPr>
          <p:cNvSpPr>
            <a:spLocks noGrp="1"/>
          </p:cNvSpPr>
          <p:nvPr>
            <p:ph type="pic" sz="quarter" idx="10" hasCustomPrompt="1"/>
          </p:nvPr>
        </p:nvSpPr>
        <p:spPr>
          <a:xfrm>
            <a:off x="8061948" y="1099057"/>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4" name="Picture Placeholder 23">
            <a:extLst>
              <a:ext uri="{FF2B5EF4-FFF2-40B4-BE49-F238E27FC236}">
                <a16:creationId xmlns:a16="http://schemas.microsoft.com/office/drawing/2014/main" id="{BC11A38F-F11A-4007-B2C7-31F58A6BFBBA}"/>
              </a:ext>
            </a:extLst>
          </p:cNvPr>
          <p:cNvSpPr>
            <a:spLocks noGrp="1"/>
          </p:cNvSpPr>
          <p:nvPr>
            <p:ph type="pic" sz="quarter" idx="16" hasCustomPrompt="1"/>
          </p:nvPr>
        </p:nvSpPr>
        <p:spPr>
          <a:xfrm>
            <a:off x="2644137" y="4217894"/>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2" name="Picture Placeholder 21">
            <a:extLst>
              <a:ext uri="{FF2B5EF4-FFF2-40B4-BE49-F238E27FC236}">
                <a16:creationId xmlns:a16="http://schemas.microsoft.com/office/drawing/2014/main" id="{6C73AD2A-453A-4B00-84FC-02A81F3EDE81}"/>
              </a:ext>
            </a:extLst>
          </p:cNvPr>
          <p:cNvSpPr>
            <a:spLocks noGrp="1"/>
          </p:cNvSpPr>
          <p:nvPr>
            <p:ph type="pic" sz="quarter" idx="15" hasCustomPrompt="1"/>
          </p:nvPr>
        </p:nvSpPr>
        <p:spPr>
          <a:xfrm>
            <a:off x="4450075"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0" name="Picture Placeholder 19">
            <a:extLst>
              <a:ext uri="{FF2B5EF4-FFF2-40B4-BE49-F238E27FC236}">
                <a16:creationId xmlns:a16="http://schemas.microsoft.com/office/drawing/2014/main" id="{AD2014F9-FA84-4549-A037-1B90F76C481C}"/>
              </a:ext>
            </a:extLst>
          </p:cNvPr>
          <p:cNvSpPr>
            <a:spLocks noGrp="1"/>
          </p:cNvSpPr>
          <p:nvPr>
            <p:ph type="pic" sz="quarter" idx="14" hasCustomPrompt="1"/>
          </p:nvPr>
        </p:nvSpPr>
        <p:spPr>
          <a:xfrm>
            <a:off x="6256012" y="4716860"/>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738C6C84-91B9-4168-B406-07485939AAC1}"/>
              </a:ext>
            </a:extLst>
          </p:cNvPr>
          <p:cNvSpPr>
            <a:spLocks noGrp="1"/>
          </p:cNvSpPr>
          <p:nvPr>
            <p:ph type="pic" sz="quarter" idx="13" hasCustomPrompt="1"/>
          </p:nvPr>
        </p:nvSpPr>
        <p:spPr>
          <a:xfrm>
            <a:off x="8061948"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0DC84FDF-3903-424B-AC17-72E8CEF61EC9}"/>
              </a:ext>
            </a:extLst>
          </p:cNvPr>
          <p:cNvSpPr>
            <a:spLocks noGrp="1"/>
          </p:cNvSpPr>
          <p:nvPr>
            <p:ph type="pic" sz="quarter" idx="12" hasCustomPrompt="1"/>
          </p:nvPr>
        </p:nvSpPr>
        <p:spPr>
          <a:xfrm>
            <a:off x="9867883"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1858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1250" fill="hold"/>
                                        <p:tgtEl>
                                          <p:spTgt spid="26"/>
                                        </p:tgtEl>
                                        <p:attrNameLst>
                                          <p:attrName>ppt_x</p:attrName>
                                        </p:attrNameLst>
                                      </p:cBhvr>
                                      <p:tavLst>
                                        <p:tav tm="0">
                                          <p:val>
                                            <p:strVal val="0-#ppt_w/2"/>
                                          </p:val>
                                        </p:tav>
                                        <p:tav tm="100000">
                                          <p:val>
                                            <p:strVal val="#ppt_x"/>
                                          </p:val>
                                        </p:tav>
                                      </p:tavLst>
                                    </p:anim>
                                    <p:anim calcmode="lin" valueType="num">
                                      <p:cBhvr additive="base">
                                        <p:cTn id="8" dur="125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250" fill="hold"/>
                                        <p:tgtEl>
                                          <p:spTgt spid="24"/>
                                        </p:tgtEl>
                                        <p:attrNameLst>
                                          <p:attrName>ppt_x</p:attrName>
                                        </p:attrNameLst>
                                      </p:cBhvr>
                                      <p:tavLst>
                                        <p:tav tm="0">
                                          <p:val>
                                            <p:strVal val="0-#ppt_w/2"/>
                                          </p:val>
                                        </p:tav>
                                        <p:tav tm="100000">
                                          <p:val>
                                            <p:strVal val="#ppt_x"/>
                                          </p:val>
                                        </p:tav>
                                      </p:tavLst>
                                    </p:anim>
                                    <p:anim calcmode="lin" valueType="num">
                                      <p:cBhvr additive="base">
                                        <p:cTn id="12" dur="1250" fill="hold"/>
                                        <p:tgtEl>
                                          <p:spTgt spid="2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250" fill="hold"/>
                                        <p:tgtEl>
                                          <p:spTgt spid="22"/>
                                        </p:tgtEl>
                                        <p:attrNameLst>
                                          <p:attrName>ppt_x</p:attrName>
                                        </p:attrNameLst>
                                      </p:cBhvr>
                                      <p:tavLst>
                                        <p:tav tm="0">
                                          <p:val>
                                            <p:strVal val="0-#ppt_w/2"/>
                                          </p:val>
                                        </p:tav>
                                        <p:tav tm="100000">
                                          <p:val>
                                            <p:strVal val="#ppt_x"/>
                                          </p:val>
                                        </p:tav>
                                      </p:tavLst>
                                    </p:anim>
                                    <p:anim calcmode="lin" valueType="num">
                                      <p:cBhvr additive="base">
                                        <p:cTn id="16" dur="12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250" fill="hold"/>
                                        <p:tgtEl>
                                          <p:spTgt spid="20"/>
                                        </p:tgtEl>
                                        <p:attrNameLst>
                                          <p:attrName>ppt_x</p:attrName>
                                        </p:attrNameLst>
                                      </p:cBhvr>
                                      <p:tavLst>
                                        <p:tav tm="0">
                                          <p:val>
                                            <p:strVal val="1+#ppt_w/2"/>
                                          </p:val>
                                        </p:tav>
                                        <p:tav tm="100000">
                                          <p:val>
                                            <p:strVal val="#ppt_x"/>
                                          </p:val>
                                        </p:tav>
                                      </p:tavLst>
                                    </p:anim>
                                    <p:anim calcmode="lin" valueType="num">
                                      <p:cBhvr additive="base">
                                        <p:cTn id="20" dur="125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250" fill="hold"/>
                                        <p:tgtEl>
                                          <p:spTgt spid="18"/>
                                        </p:tgtEl>
                                        <p:attrNameLst>
                                          <p:attrName>ppt_x</p:attrName>
                                        </p:attrNameLst>
                                      </p:cBhvr>
                                      <p:tavLst>
                                        <p:tav tm="0">
                                          <p:val>
                                            <p:strVal val="1+#ppt_w/2"/>
                                          </p:val>
                                        </p:tav>
                                        <p:tav tm="100000">
                                          <p:val>
                                            <p:strVal val="#ppt_x"/>
                                          </p:val>
                                        </p:tav>
                                      </p:tavLst>
                                    </p:anim>
                                    <p:anim calcmode="lin" valueType="num">
                                      <p:cBhvr additive="base">
                                        <p:cTn id="24" dur="125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250" fill="hold"/>
                                        <p:tgtEl>
                                          <p:spTgt spid="16"/>
                                        </p:tgtEl>
                                        <p:attrNameLst>
                                          <p:attrName>ppt_x</p:attrName>
                                        </p:attrNameLst>
                                      </p:cBhvr>
                                      <p:tavLst>
                                        <p:tav tm="0">
                                          <p:val>
                                            <p:strVal val="1+#ppt_w/2"/>
                                          </p:val>
                                        </p:tav>
                                        <p:tav tm="100000">
                                          <p:val>
                                            <p:strVal val="#ppt_x"/>
                                          </p:val>
                                        </p:tav>
                                      </p:tavLst>
                                    </p:anim>
                                    <p:anim calcmode="lin" valueType="num">
                                      <p:cBhvr additive="base">
                                        <p:cTn id="28" dur="125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1" decel="10000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1250" fill="hold"/>
                                        <p:tgtEl>
                                          <p:spTgt spid="12"/>
                                        </p:tgtEl>
                                        <p:attrNameLst>
                                          <p:attrName>ppt_x</p:attrName>
                                        </p:attrNameLst>
                                      </p:cBhvr>
                                      <p:tavLst>
                                        <p:tav tm="0">
                                          <p:val>
                                            <p:strVal val="#ppt_x"/>
                                          </p:val>
                                        </p:tav>
                                        <p:tav tm="100000">
                                          <p:val>
                                            <p:strVal val="#ppt_x"/>
                                          </p:val>
                                        </p:tav>
                                      </p:tavLst>
                                    </p:anim>
                                    <p:anim calcmode="lin" valueType="num">
                                      <p:cBhvr additive="base">
                                        <p:cTn id="32" dur="1250" fill="hold"/>
                                        <p:tgtEl>
                                          <p:spTgt spid="12"/>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250" fill="hold"/>
                                        <p:tgtEl>
                                          <p:spTgt spid="14"/>
                                        </p:tgtEl>
                                        <p:attrNameLst>
                                          <p:attrName>ppt_x</p:attrName>
                                        </p:attrNameLst>
                                      </p:cBhvr>
                                      <p:tavLst>
                                        <p:tav tm="0">
                                          <p:val>
                                            <p:strVal val="#ppt_x"/>
                                          </p:val>
                                        </p:tav>
                                        <p:tav tm="100000">
                                          <p:val>
                                            <p:strVal val="#ppt_x"/>
                                          </p:val>
                                        </p:tav>
                                      </p:tavLst>
                                    </p:anim>
                                    <p:anim calcmode="lin" valueType="num">
                                      <p:cBhvr additive="base">
                                        <p:cTn id="36" dur="125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6" grpId="0" animBg="1"/>
      <p:bldP spid="12" grpId="0" animBg="1"/>
      <p:bldP spid="24" grpId="0" animBg="1"/>
      <p:bldP spid="22" grpId="0" animBg="1"/>
      <p:bldP spid="20" grpId="0" animBg="1"/>
      <p:bldP spid="18" grpId="0" animBg="1"/>
      <p:bldP spid="16"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1">
            <a:alpha val="25000"/>
          </a:schemeClr>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FE08D-28F1-4FEA-AEAA-139DF855DC3A}"/>
              </a:ext>
            </a:extLst>
          </p:cNvPr>
          <p:cNvSpPr>
            <a:spLocks noGrp="1"/>
          </p:cNvSpPr>
          <p:nvPr>
            <p:ph type="pic" sz="quarter" idx="10" hasCustomPrompt="1"/>
          </p:nvPr>
        </p:nvSpPr>
        <p:spPr>
          <a:xfrm>
            <a:off x="6095999" y="-2008060"/>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A89E2E40-72CD-4BAF-A038-98E34A470C29}"/>
              </a:ext>
            </a:extLst>
          </p:cNvPr>
          <p:cNvSpPr>
            <a:spLocks noGrp="1"/>
          </p:cNvSpPr>
          <p:nvPr>
            <p:ph type="pic" sz="quarter" idx="11" hasCustomPrompt="1"/>
          </p:nvPr>
        </p:nvSpPr>
        <p:spPr>
          <a:xfrm>
            <a:off x="-1" y="4811843"/>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89223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250" fill="hold"/>
                                        <p:tgtEl>
                                          <p:spTgt spid="7"/>
                                        </p:tgtEl>
                                        <p:attrNameLst>
                                          <p:attrName>ppt_x</p:attrName>
                                        </p:attrNameLst>
                                      </p:cBhvr>
                                      <p:tavLst>
                                        <p:tav tm="0">
                                          <p:val>
                                            <p:strVal val="#ppt_x"/>
                                          </p:val>
                                        </p:tav>
                                        <p:tav tm="100000">
                                          <p:val>
                                            <p:strVal val="#ppt_x"/>
                                          </p:val>
                                        </p:tav>
                                      </p:tavLst>
                                    </p:anim>
                                    <p:anim calcmode="lin" valueType="num">
                                      <p:cBhvr additive="base">
                                        <p:cTn id="12" dur="125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53253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17C16E84-DC49-4CD8-9911-D680F9730E6F}"/>
              </a:ext>
            </a:extLst>
          </p:cNvPr>
          <p:cNvSpPr>
            <a:spLocks noGrp="1"/>
          </p:cNvSpPr>
          <p:nvPr>
            <p:ph type="pic" sz="quarter" idx="15" hasCustomPrompt="1"/>
          </p:nvPr>
        </p:nvSpPr>
        <p:spPr>
          <a:xfrm>
            <a:off x="5447112" y="4697808"/>
            <a:ext cx="2741454" cy="1474392"/>
          </a:xfrm>
          <a:custGeom>
            <a:avLst/>
            <a:gdLst>
              <a:gd name="connsiteX0" fmla="*/ 0 w 2741454"/>
              <a:gd name="connsiteY0" fmla="*/ 0 h 1474392"/>
              <a:gd name="connsiteX1" fmla="*/ 2741454 w 2741454"/>
              <a:gd name="connsiteY1" fmla="*/ 0 h 1474392"/>
              <a:gd name="connsiteX2" fmla="*/ 2741454 w 2741454"/>
              <a:gd name="connsiteY2" fmla="*/ 1213292 h 1474392"/>
              <a:gd name="connsiteX3" fmla="*/ 2480354 w 2741454"/>
              <a:gd name="connsiteY3" fmla="*/ 1474392 h 1474392"/>
              <a:gd name="connsiteX4" fmla="*/ 0 w 2741454"/>
              <a:gd name="connsiteY4" fmla="*/ 1474392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54" h="1474392">
                <a:moveTo>
                  <a:pt x="0" y="0"/>
                </a:moveTo>
                <a:lnTo>
                  <a:pt x="2741454" y="0"/>
                </a:lnTo>
                <a:lnTo>
                  <a:pt x="2741454" y="1213292"/>
                </a:lnTo>
                <a:cubicBezTo>
                  <a:pt x="2741454" y="1357494"/>
                  <a:pt x="2624556" y="1474392"/>
                  <a:pt x="2480354" y="1474392"/>
                </a:cubicBezTo>
                <a:lnTo>
                  <a:pt x="0" y="1474392"/>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913FF35A-F50F-42A8-9F91-1298A6A8D03C}"/>
              </a:ext>
            </a:extLst>
          </p:cNvPr>
          <p:cNvSpPr>
            <a:spLocks noGrp="1"/>
          </p:cNvSpPr>
          <p:nvPr>
            <p:ph type="pic" sz="quarter" idx="14" hasCustomPrompt="1"/>
          </p:nvPr>
        </p:nvSpPr>
        <p:spPr>
          <a:xfrm>
            <a:off x="3661718" y="4697808"/>
            <a:ext cx="1370721" cy="1474392"/>
          </a:xfrm>
          <a:custGeom>
            <a:avLst/>
            <a:gdLst>
              <a:gd name="connsiteX0" fmla="*/ 0 w 1370721"/>
              <a:gd name="connsiteY0" fmla="*/ 0 h 1474392"/>
              <a:gd name="connsiteX1" fmla="*/ 1370721 w 1370721"/>
              <a:gd name="connsiteY1" fmla="*/ 0 h 1474392"/>
              <a:gd name="connsiteX2" fmla="*/ 1370721 w 1370721"/>
              <a:gd name="connsiteY2" fmla="*/ 1474392 h 1474392"/>
              <a:gd name="connsiteX3" fmla="*/ 228458 w 1370721"/>
              <a:gd name="connsiteY3" fmla="*/ 1474392 h 1474392"/>
              <a:gd name="connsiteX4" fmla="*/ 0 w 1370721"/>
              <a:gd name="connsiteY4" fmla="*/ 1245934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21" h="1474392">
                <a:moveTo>
                  <a:pt x="0" y="0"/>
                </a:moveTo>
                <a:lnTo>
                  <a:pt x="1370721" y="0"/>
                </a:lnTo>
                <a:lnTo>
                  <a:pt x="1370721" y="1474392"/>
                </a:lnTo>
                <a:lnTo>
                  <a:pt x="228458" y="1474392"/>
                </a:lnTo>
                <a:cubicBezTo>
                  <a:pt x="102284" y="1474392"/>
                  <a:pt x="0" y="1372108"/>
                  <a:pt x="0" y="124593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AF1E530A-12E1-41CC-B2FB-22C9998CC716}"/>
              </a:ext>
            </a:extLst>
          </p:cNvPr>
          <p:cNvSpPr>
            <a:spLocks noGrp="1"/>
          </p:cNvSpPr>
          <p:nvPr>
            <p:ph type="pic" sz="quarter" idx="13" hasCustomPrompt="1"/>
          </p:nvPr>
        </p:nvSpPr>
        <p:spPr>
          <a:xfrm>
            <a:off x="8499570" y="3341584"/>
            <a:ext cx="1919779" cy="1919779"/>
          </a:xfrm>
          <a:custGeom>
            <a:avLst/>
            <a:gdLst>
              <a:gd name="connsiteX0" fmla="*/ 0 w 1919779"/>
              <a:gd name="connsiteY0" fmla="*/ 0 h 1919779"/>
              <a:gd name="connsiteX1" fmla="*/ 1919779 w 1919779"/>
              <a:gd name="connsiteY1" fmla="*/ 0 h 1919779"/>
              <a:gd name="connsiteX2" fmla="*/ 1919779 w 1919779"/>
              <a:gd name="connsiteY2" fmla="*/ 1599809 h 1919779"/>
              <a:gd name="connsiteX3" fmla="*/ 1599809 w 1919779"/>
              <a:gd name="connsiteY3" fmla="*/ 1919779 h 1919779"/>
              <a:gd name="connsiteX4" fmla="*/ 0 w 1919779"/>
              <a:gd name="connsiteY4" fmla="*/ 1919779 h 191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779" h="1919779">
                <a:moveTo>
                  <a:pt x="0" y="0"/>
                </a:moveTo>
                <a:lnTo>
                  <a:pt x="1919779" y="0"/>
                </a:lnTo>
                <a:lnTo>
                  <a:pt x="1919779" y="1599809"/>
                </a:lnTo>
                <a:cubicBezTo>
                  <a:pt x="1919779" y="1776524"/>
                  <a:pt x="1776524" y="1919779"/>
                  <a:pt x="1599809" y="1919779"/>
                </a:cubicBezTo>
                <a:lnTo>
                  <a:pt x="0" y="1919779"/>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B4FB5D0E-6DEE-45AB-8A73-5F06CF979CCB}"/>
              </a:ext>
            </a:extLst>
          </p:cNvPr>
          <p:cNvSpPr>
            <a:spLocks noGrp="1"/>
          </p:cNvSpPr>
          <p:nvPr>
            <p:ph type="pic" sz="quarter" idx="12" hasCustomPrompt="1"/>
          </p:nvPr>
        </p:nvSpPr>
        <p:spPr>
          <a:xfrm>
            <a:off x="6184310" y="2371030"/>
            <a:ext cx="2004255" cy="1900584"/>
          </a:xfrm>
          <a:custGeom>
            <a:avLst/>
            <a:gdLst>
              <a:gd name="connsiteX0" fmla="*/ 0 w 2004255"/>
              <a:gd name="connsiteY0" fmla="*/ 0 h 1900584"/>
              <a:gd name="connsiteX1" fmla="*/ 1687485 w 2004255"/>
              <a:gd name="connsiteY1" fmla="*/ 0 h 1900584"/>
              <a:gd name="connsiteX2" fmla="*/ 2004255 w 2004255"/>
              <a:gd name="connsiteY2" fmla="*/ 316770 h 1900584"/>
              <a:gd name="connsiteX3" fmla="*/ 2004255 w 2004255"/>
              <a:gd name="connsiteY3" fmla="*/ 1900584 h 1900584"/>
              <a:gd name="connsiteX4" fmla="*/ 0 w 2004255"/>
              <a:gd name="connsiteY4" fmla="*/ 1900584 h 19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255" h="1900584">
                <a:moveTo>
                  <a:pt x="0" y="0"/>
                </a:moveTo>
                <a:lnTo>
                  <a:pt x="1687485" y="0"/>
                </a:lnTo>
                <a:cubicBezTo>
                  <a:pt x="1862432" y="0"/>
                  <a:pt x="2004255" y="141823"/>
                  <a:pt x="2004255" y="316770"/>
                </a:cubicBezTo>
                <a:lnTo>
                  <a:pt x="2004255" y="1900584"/>
                </a:lnTo>
                <a:lnTo>
                  <a:pt x="0" y="190058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655AE33A-D33E-4D5C-BE66-EFA55515C474}"/>
              </a:ext>
            </a:extLst>
          </p:cNvPr>
          <p:cNvSpPr>
            <a:spLocks noGrp="1"/>
          </p:cNvSpPr>
          <p:nvPr>
            <p:ph type="pic" sz="quarter" idx="11" hasCustomPrompt="1"/>
          </p:nvPr>
        </p:nvSpPr>
        <p:spPr>
          <a:xfrm>
            <a:off x="1772653" y="3341584"/>
            <a:ext cx="1474392" cy="1474392"/>
          </a:xfrm>
          <a:custGeom>
            <a:avLst/>
            <a:gdLst>
              <a:gd name="connsiteX0" fmla="*/ 245737 w 1474392"/>
              <a:gd name="connsiteY0" fmla="*/ 0 h 1474392"/>
              <a:gd name="connsiteX1" fmla="*/ 1474392 w 1474392"/>
              <a:gd name="connsiteY1" fmla="*/ 0 h 1474392"/>
              <a:gd name="connsiteX2" fmla="*/ 1474392 w 1474392"/>
              <a:gd name="connsiteY2" fmla="*/ 1474392 h 1474392"/>
              <a:gd name="connsiteX3" fmla="*/ 0 w 1474392"/>
              <a:gd name="connsiteY3" fmla="*/ 1474392 h 1474392"/>
              <a:gd name="connsiteX4" fmla="*/ 0 w 1474392"/>
              <a:gd name="connsiteY4" fmla="*/ 245737 h 1474392"/>
              <a:gd name="connsiteX5" fmla="*/ 245737 w 1474392"/>
              <a:gd name="connsiteY5" fmla="*/ 0 h 147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2" h="1474392">
                <a:moveTo>
                  <a:pt x="245737" y="0"/>
                </a:moveTo>
                <a:lnTo>
                  <a:pt x="1474392" y="0"/>
                </a:lnTo>
                <a:lnTo>
                  <a:pt x="1474392" y="1474392"/>
                </a:lnTo>
                <a:lnTo>
                  <a:pt x="0" y="1474392"/>
                </a:lnTo>
                <a:lnTo>
                  <a:pt x="0" y="245737"/>
                </a:lnTo>
                <a:cubicBezTo>
                  <a:pt x="0" y="110020"/>
                  <a:pt x="110020" y="0"/>
                  <a:pt x="245737"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0BFC80A4-2DE5-4CA9-99CE-FE94E974BF67}"/>
              </a:ext>
            </a:extLst>
          </p:cNvPr>
          <p:cNvSpPr>
            <a:spLocks noGrp="1"/>
          </p:cNvSpPr>
          <p:nvPr>
            <p:ph type="pic" sz="quarter" idx="10" hasCustomPrompt="1"/>
          </p:nvPr>
        </p:nvSpPr>
        <p:spPr>
          <a:xfrm>
            <a:off x="3661719" y="2060029"/>
            <a:ext cx="2211587" cy="2211587"/>
          </a:xfrm>
          <a:custGeom>
            <a:avLst/>
            <a:gdLst>
              <a:gd name="connsiteX0" fmla="*/ 368605 w 2211587"/>
              <a:gd name="connsiteY0" fmla="*/ 0 h 2211587"/>
              <a:gd name="connsiteX1" fmla="*/ 2211587 w 2211587"/>
              <a:gd name="connsiteY1" fmla="*/ 0 h 2211587"/>
              <a:gd name="connsiteX2" fmla="*/ 2211587 w 2211587"/>
              <a:gd name="connsiteY2" fmla="*/ 2211587 h 2211587"/>
              <a:gd name="connsiteX3" fmla="*/ 0 w 2211587"/>
              <a:gd name="connsiteY3" fmla="*/ 2211587 h 2211587"/>
              <a:gd name="connsiteX4" fmla="*/ 0 w 2211587"/>
              <a:gd name="connsiteY4" fmla="*/ 368605 h 2211587"/>
              <a:gd name="connsiteX5" fmla="*/ 368605 w 2211587"/>
              <a:gd name="connsiteY5" fmla="*/ 0 h 22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1587" h="2211587">
                <a:moveTo>
                  <a:pt x="368605" y="0"/>
                </a:moveTo>
                <a:lnTo>
                  <a:pt x="2211587" y="0"/>
                </a:lnTo>
                <a:lnTo>
                  <a:pt x="2211587" y="2211587"/>
                </a:lnTo>
                <a:lnTo>
                  <a:pt x="0" y="2211587"/>
                </a:lnTo>
                <a:lnTo>
                  <a:pt x="0" y="368605"/>
                </a:lnTo>
                <a:cubicBezTo>
                  <a:pt x="0" y="165030"/>
                  <a:pt x="165030" y="0"/>
                  <a:pt x="36860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38446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53" presetClass="entr" presetSubtype="16" fill="hold" grpId="0" nodeType="withEffect">
                                  <p:stCondLst>
                                    <p:cond delay="2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53" presetClass="entr" presetSubtype="16" fill="hold" grpId="0" nodeType="withEffect">
                                  <p:stCondLst>
                                    <p:cond delay="50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53" presetClass="entr" presetSubtype="16" fill="hold" grpId="0" nodeType="withEffect">
                                  <p:stCondLst>
                                    <p:cond delay="75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fill="hold"/>
                                        <p:tgtEl>
                                          <p:spTgt spid="20"/>
                                        </p:tgtEl>
                                        <p:attrNameLst>
                                          <p:attrName>ppt_w</p:attrName>
                                        </p:attrNameLst>
                                      </p:cBhvr>
                                      <p:tavLst>
                                        <p:tav tm="0">
                                          <p:val>
                                            <p:fltVal val="0"/>
                                          </p:val>
                                        </p:tav>
                                        <p:tav tm="100000">
                                          <p:val>
                                            <p:strVal val="#ppt_w"/>
                                          </p:val>
                                        </p:tav>
                                      </p:tavLst>
                                    </p:anim>
                                    <p:anim calcmode="lin" valueType="num">
                                      <p:cBhvr>
                                        <p:cTn id="33" dur="500" fill="hold"/>
                                        <p:tgtEl>
                                          <p:spTgt spid="20"/>
                                        </p:tgtEl>
                                        <p:attrNameLst>
                                          <p:attrName>ppt_h</p:attrName>
                                        </p:attrNameLst>
                                      </p:cBhvr>
                                      <p:tavLst>
                                        <p:tav tm="0">
                                          <p:val>
                                            <p:fltVal val="0"/>
                                          </p:val>
                                        </p:tav>
                                        <p:tav tm="100000">
                                          <p:val>
                                            <p:strVal val="#ppt_h"/>
                                          </p:val>
                                        </p:tav>
                                      </p:tavLst>
                                    </p:anim>
                                    <p:animEffect transition="in" filter="fade">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6" grpId="0" animBg="1"/>
      <p:bldP spid="14" grpId="0" animBg="1"/>
      <p:bldP spid="12" grpId="0" animBg="1"/>
      <p:bldP spid="10"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273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1AADD2-C7D1-48BF-BFB9-D1CAED05A927}"/>
              </a:ext>
            </a:extLst>
          </p:cNvPr>
          <p:cNvSpPr>
            <a:spLocks noGrp="1"/>
          </p:cNvSpPr>
          <p:nvPr>
            <p:ph type="pic" sz="quarter" idx="12" hasCustomPrompt="1"/>
          </p:nvPr>
        </p:nvSpPr>
        <p:spPr>
          <a:xfrm>
            <a:off x="9700532" y="4977106"/>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3012D85C-AEBF-4D21-B882-8102EF3383DD}"/>
              </a:ext>
            </a:extLst>
          </p:cNvPr>
          <p:cNvSpPr>
            <a:spLocks noGrp="1"/>
          </p:cNvSpPr>
          <p:nvPr>
            <p:ph type="pic" sz="quarter" idx="11" hasCustomPrompt="1"/>
          </p:nvPr>
        </p:nvSpPr>
        <p:spPr>
          <a:xfrm>
            <a:off x="9700532" y="3437214"/>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12D5D6D5-B30F-44C0-A288-913E5CF713E5}"/>
              </a:ext>
            </a:extLst>
          </p:cNvPr>
          <p:cNvSpPr>
            <a:spLocks noGrp="1"/>
          </p:cNvSpPr>
          <p:nvPr>
            <p:ph type="pic" sz="quarter" idx="10" hasCustomPrompt="1"/>
          </p:nvPr>
        </p:nvSpPr>
        <p:spPr>
          <a:xfrm>
            <a:off x="6705185" y="3437215"/>
            <a:ext cx="2572911" cy="2734985"/>
          </a:xfrm>
          <a:custGeom>
            <a:avLst/>
            <a:gdLst>
              <a:gd name="connsiteX0" fmla="*/ 0 w 2572911"/>
              <a:gd name="connsiteY0" fmla="*/ 0 h 2734985"/>
              <a:gd name="connsiteX1" fmla="*/ 2572911 w 2572911"/>
              <a:gd name="connsiteY1" fmla="*/ 0 h 2734985"/>
              <a:gd name="connsiteX2" fmla="*/ 2572911 w 2572911"/>
              <a:gd name="connsiteY2" fmla="*/ 2420498 h 2734985"/>
              <a:gd name="connsiteX3" fmla="*/ 2258424 w 2572911"/>
              <a:gd name="connsiteY3" fmla="*/ 2734985 h 2734985"/>
              <a:gd name="connsiteX4" fmla="*/ 0 w 2572911"/>
              <a:gd name="connsiteY4" fmla="*/ 2734985 h 2734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2911" h="2734985">
                <a:moveTo>
                  <a:pt x="0" y="0"/>
                </a:moveTo>
                <a:lnTo>
                  <a:pt x="2572911" y="0"/>
                </a:lnTo>
                <a:lnTo>
                  <a:pt x="2572911" y="2420498"/>
                </a:lnTo>
                <a:cubicBezTo>
                  <a:pt x="2572911" y="2594184"/>
                  <a:pt x="2432110" y="2734985"/>
                  <a:pt x="2258424" y="2734985"/>
                </a:cubicBezTo>
                <a:lnTo>
                  <a:pt x="0" y="273498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14124DA4-7348-4C04-B4F1-29F6784D5FE8}"/>
              </a:ext>
            </a:extLst>
          </p:cNvPr>
          <p:cNvSpPr>
            <a:spLocks noGrp="1"/>
          </p:cNvSpPr>
          <p:nvPr>
            <p:ph type="pic" sz="quarter" idx="13" hasCustomPrompt="1"/>
          </p:nvPr>
        </p:nvSpPr>
        <p:spPr>
          <a:xfrm>
            <a:off x="9700532" y="1028700"/>
            <a:ext cx="1124274" cy="2063716"/>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35676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1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umn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700452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F9AC1BE-91DA-4B0B-9C8C-12B0C3EED59D}"/>
              </a:ext>
            </a:extLst>
          </p:cNvPr>
          <p:cNvSpPr>
            <a:spLocks noGrp="1"/>
          </p:cNvSpPr>
          <p:nvPr>
            <p:ph type="pic" sz="quarter" idx="14" hasCustomPrompt="1"/>
          </p:nvPr>
        </p:nvSpPr>
        <p:spPr>
          <a:xfrm>
            <a:off x="10167938"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012D5295-CFD7-4A59-A3DF-5824407294F5}"/>
              </a:ext>
            </a:extLst>
          </p:cNvPr>
          <p:cNvSpPr>
            <a:spLocks noGrp="1"/>
          </p:cNvSpPr>
          <p:nvPr>
            <p:ph type="pic" sz="quarter" idx="13" hasCustomPrompt="1"/>
          </p:nvPr>
        </p:nvSpPr>
        <p:spPr>
          <a:xfrm>
            <a:off x="7835503"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3501A34C-73EE-4142-A4B5-A858FA479113}"/>
              </a:ext>
            </a:extLst>
          </p:cNvPr>
          <p:cNvSpPr>
            <a:spLocks noGrp="1"/>
          </p:cNvSpPr>
          <p:nvPr>
            <p:ph type="pic" sz="quarter" idx="12" hasCustomPrompt="1"/>
          </p:nvPr>
        </p:nvSpPr>
        <p:spPr>
          <a:xfrm>
            <a:off x="5503069"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3AB2C199-5D3E-4DB2-8119-F152A70C04E6}"/>
              </a:ext>
            </a:extLst>
          </p:cNvPr>
          <p:cNvSpPr>
            <a:spLocks noGrp="1"/>
          </p:cNvSpPr>
          <p:nvPr>
            <p:ph type="pic" sz="quarter" idx="11" hasCustomPrompt="1"/>
          </p:nvPr>
        </p:nvSpPr>
        <p:spPr>
          <a:xfrm>
            <a:off x="3170635"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693CE609-14EA-459A-97E1-5F47C7855E8B}"/>
              </a:ext>
            </a:extLst>
          </p:cNvPr>
          <p:cNvSpPr>
            <a:spLocks noGrp="1"/>
          </p:cNvSpPr>
          <p:nvPr>
            <p:ph type="pic" sz="quarter" idx="10" hasCustomPrompt="1"/>
          </p:nvPr>
        </p:nvSpPr>
        <p:spPr>
          <a:xfrm>
            <a:off x="838201"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12915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250"/>
                                        <p:tgtEl>
                                          <p:spTgt spid="15"/>
                                        </p:tgtEl>
                                      </p:cBhvr>
                                    </p:animEffect>
                                    <p:anim calcmode="lin" valueType="num">
                                      <p:cBhvr>
                                        <p:cTn id="23" dur="1250" fill="hold"/>
                                        <p:tgtEl>
                                          <p:spTgt spid="15"/>
                                        </p:tgtEl>
                                        <p:attrNameLst>
                                          <p:attrName>ppt_x</p:attrName>
                                        </p:attrNameLst>
                                      </p:cBhvr>
                                      <p:tavLst>
                                        <p:tav tm="0">
                                          <p:val>
                                            <p:strVal val="#ppt_x"/>
                                          </p:val>
                                        </p:tav>
                                        <p:tav tm="100000">
                                          <p:val>
                                            <p:strVal val="#ppt_x"/>
                                          </p:val>
                                        </p:tav>
                                      </p:tavLst>
                                    </p:anim>
                                    <p:anim calcmode="lin" valueType="num">
                                      <p:cBhvr>
                                        <p:cTn id="24" dur="1250" fill="hold"/>
                                        <p:tgtEl>
                                          <p:spTgt spid="1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000"/>
                                        <p:tgtEl>
                                          <p:spTgt spid="17"/>
                                        </p:tgtEl>
                                      </p:cBhvr>
                                    </p:animEffect>
                                    <p:anim calcmode="lin" valueType="num">
                                      <p:cBhvr>
                                        <p:cTn id="28" dur="1000" fill="hold"/>
                                        <p:tgtEl>
                                          <p:spTgt spid="17"/>
                                        </p:tgtEl>
                                        <p:attrNameLst>
                                          <p:attrName>ppt_x</p:attrName>
                                        </p:attrNameLst>
                                      </p:cBhvr>
                                      <p:tavLst>
                                        <p:tav tm="0">
                                          <p:val>
                                            <p:strVal val="#ppt_x"/>
                                          </p:val>
                                        </p:tav>
                                        <p:tav tm="100000">
                                          <p:val>
                                            <p:strVal val="#ppt_x"/>
                                          </p:val>
                                        </p:tav>
                                      </p:tavLst>
                                    </p:anim>
                                    <p:anim calcmode="lin" valueType="num">
                                      <p:cBhvr>
                                        <p:cTn id="2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13" grpId="0" animBg="1"/>
      <p:bldP spid="11" grpId="0" animBg="1"/>
      <p:bldP spid="9"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58542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03733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50D113-38BA-4223-B16D-43D83D7BCDE8}"/>
              </a:ext>
            </a:extLst>
          </p:cNvPr>
          <p:cNvSpPr>
            <a:spLocks noGrp="1"/>
          </p:cNvSpPr>
          <p:nvPr>
            <p:ph type="pic" sz="quarter" idx="12" hasCustomPrompt="1"/>
          </p:nvPr>
        </p:nvSpPr>
        <p:spPr>
          <a:xfrm>
            <a:off x="8333458" y="4139666"/>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gradFill>
            <a:gsLst>
              <a:gs pos="0">
                <a:schemeClr val="accent1">
                  <a:lumMod val="60000"/>
                  <a:lumOff val="40000"/>
                </a:schemeClr>
              </a:gs>
              <a:gs pos="85000">
                <a:schemeClr val="accent1"/>
              </a:gs>
            </a:gsLst>
            <a:path path="circle">
              <a:fillToRect l="100000" t="100000"/>
            </a:path>
          </a:gra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8C410156-C06F-4D5E-A23B-63EC9601B176}"/>
              </a:ext>
            </a:extLst>
          </p:cNvPr>
          <p:cNvSpPr>
            <a:spLocks noGrp="1"/>
          </p:cNvSpPr>
          <p:nvPr>
            <p:ph type="pic" sz="quarter" idx="13" hasCustomPrompt="1"/>
          </p:nvPr>
        </p:nvSpPr>
        <p:spPr>
          <a:xfrm>
            <a:off x="9857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27C26A4F-1352-436E-A649-5C0046ABA599}"/>
              </a:ext>
            </a:extLst>
          </p:cNvPr>
          <p:cNvSpPr>
            <a:spLocks noGrp="1"/>
          </p:cNvSpPr>
          <p:nvPr>
            <p:ph type="pic" sz="quarter" idx="11" hasCustomPrompt="1"/>
          </p:nvPr>
        </p:nvSpPr>
        <p:spPr>
          <a:xfrm>
            <a:off x="6809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C75F0255-3CD4-4043-AA71-8AE7D294F69F}"/>
              </a:ext>
            </a:extLst>
          </p:cNvPr>
          <p:cNvSpPr>
            <a:spLocks noGrp="1"/>
          </p:cNvSpPr>
          <p:nvPr>
            <p:ph type="pic" sz="quarter" idx="10" hasCustomPrompt="1"/>
          </p:nvPr>
        </p:nvSpPr>
        <p:spPr>
          <a:xfrm>
            <a:off x="1389538" y="1028700"/>
            <a:ext cx="4155129" cy="2952750"/>
          </a:xfrm>
          <a:custGeom>
            <a:avLst/>
            <a:gdLst>
              <a:gd name="connsiteX0" fmla="*/ 0 w 4155129"/>
              <a:gd name="connsiteY0" fmla="*/ 0 h 2952750"/>
              <a:gd name="connsiteX1" fmla="*/ 3662994 w 4155129"/>
              <a:gd name="connsiteY1" fmla="*/ 0 h 2952750"/>
              <a:gd name="connsiteX2" fmla="*/ 4155129 w 4155129"/>
              <a:gd name="connsiteY2" fmla="*/ 492135 h 2952750"/>
              <a:gd name="connsiteX3" fmla="*/ 4155129 w 4155129"/>
              <a:gd name="connsiteY3" fmla="*/ 2952750 h 2952750"/>
              <a:gd name="connsiteX4" fmla="*/ 0 w 4155129"/>
              <a:gd name="connsiteY4" fmla="*/ 2952750 h 295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129" h="2952750">
                <a:moveTo>
                  <a:pt x="0" y="0"/>
                </a:moveTo>
                <a:lnTo>
                  <a:pt x="3662994" y="0"/>
                </a:lnTo>
                <a:cubicBezTo>
                  <a:pt x="3934793" y="0"/>
                  <a:pt x="4155129" y="220336"/>
                  <a:pt x="4155129" y="492135"/>
                </a:cubicBezTo>
                <a:lnTo>
                  <a:pt x="4155129" y="2952750"/>
                </a:lnTo>
                <a:lnTo>
                  <a:pt x="0" y="295275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71795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250" fill="hold"/>
                                        <p:tgtEl>
                                          <p:spTgt spid="14"/>
                                        </p:tgtEl>
                                        <p:attrNameLst>
                                          <p:attrName>ppt_x</p:attrName>
                                        </p:attrNameLst>
                                      </p:cBhvr>
                                      <p:tavLst>
                                        <p:tav tm="0">
                                          <p:val>
                                            <p:strVal val="#ppt_x"/>
                                          </p:val>
                                        </p:tav>
                                        <p:tav tm="100000">
                                          <p:val>
                                            <p:strVal val="#ppt_x"/>
                                          </p:val>
                                        </p:tav>
                                      </p:tavLst>
                                    </p:anim>
                                    <p:anim calcmode="lin" valueType="num">
                                      <p:cBhvr additive="base">
                                        <p:cTn id="20" dur="12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0" grpId="0" animBg="1"/>
      <p:bldP spid="8" grpId="0" animBg="1"/>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95F02FB-8AAA-43B7-85D7-00ABC8A42464}"/>
              </a:ext>
            </a:extLst>
          </p:cNvPr>
          <p:cNvSpPr>
            <a:spLocks noGrp="1"/>
          </p:cNvSpPr>
          <p:nvPr>
            <p:ph type="pic" sz="quarter" idx="10" hasCustomPrompt="1"/>
          </p:nvPr>
        </p:nvSpPr>
        <p:spPr>
          <a:xfrm>
            <a:off x="7547971" y="698541"/>
            <a:ext cx="5257070" cy="5257070"/>
          </a:xfrm>
          <a:custGeom>
            <a:avLst/>
            <a:gdLst>
              <a:gd name="connsiteX0" fmla="*/ 0 w 5257070"/>
              <a:gd name="connsiteY0" fmla="*/ 0 h 5257070"/>
              <a:gd name="connsiteX1" fmla="*/ 5257070 w 5257070"/>
              <a:gd name="connsiteY1" fmla="*/ 0 h 5257070"/>
              <a:gd name="connsiteX2" fmla="*/ 5257070 w 5257070"/>
              <a:gd name="connsiteY2" fmla="*/ 5257070 h 5257070"/>
              <a:gd name="connsiteX3" fmla="*/ 0 w 5257070"/>
              <a:gd name="connsiteY3" fmla="*/ 5257070 h 5257070"/>
            </a:gdLst>
            <a:ahLst/>
            <a:cxnLst>
              <a:cxn ang="0">
                <a:pos x="connsiteX0" y="connsiteY0"/>
              </a:cxn>
              <a:cxn ang="0">
                <a:pos x="connsiteX1" y="connsiteY1"/>
              </a:cxn>
              <a:cxn ang="0">
                <a:pos x="connsiteX2" y="connsiteY2"/>
              </a:cxn>
              <a:cxn ang="0">
                <a:pos x="connsiteX3" y="connsiteY3"/>
              </a:cxn>
            </a:cxnLst>
            <a:rect l="l" t="t" r="r" b="b"/>
            <a:pathLst>
              <a:path w="5257070" h="5257070">
                <a:moveTo>
                  <a:pt x="0" y="0"/>
                </a:moveTo>
                <a:lnTo>
                  <a:pt x="5257070" y="0"/>
                </a:lnTo>
                <a:lnTo>
                  <a:pt x="5257070" y="5257070"/>
                </a:lnTo>
                <a:lnTo>
                  <a:pt x="0" y="5257070"/>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0796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96EEF4B-A74E-4C35-BAA5-BF917E420DE8}"/>
              </a:ext>
            </a:extLst>
          </p:cNvPr>
          <p:cNvSpPr>
            <a:spLocks noGrp="1"/>
          </p:cNvSpPr>
          <p:nvPr>
            <p:ph type="pic" sz="quarter" idx="10" hasCustomPrompt="1"/>
          </p:nvPr>
        </p:nvSpPr>
        <p:spPr>
          <a:xfrm>
            <a:off x="0" y="-42863"/>
            <a:ext cx="12192000" cy="2464466"/>
          </a:xfrm>
          <a:custGeom>
            <a:avLst/>
            <a:gdLst>
              <a:gd name="connsiteX0" fmla="*/ 0 w 12192000"/>
              <a:gd name="connsiteY0" fmla="*/ 0 h 2464466"/>
              <a:gd name="connsiteX1" fmla="*/ 12192000 w 12192000"/>
              <a:gd name="connsiteY1" fmla="*/ 0 h 2464466"/>
              <a:gd name="connsiteX2" fmla="*/ 12192000 w 12192000"/>
              <a:gd name="connsiteY2" fmla="*/ 2464465 h 2464466"/>
              <a:gd name="connsiteX3" fmla="*/ 12189754 w 12192000"/>
              <a:gd name="connsiteY3" fmla="*/ 2463380 h 2464466"/>
              <a:gd name="connsiteX4" fmla="*/ 6096001 w 12192000"/>
              <a:gd name="connsiteY4" fmla="*/ 1566112 h 2464466"/>
              <a:gd name="connsiteX5" fmla="*/ 2248 w 12192000"/>
              <a:gd name="connsiteY5" fmla="*/ 2463380 h 2464466"/>
              <a:gd name="connsiteX6" fmla="*/ 0 w 12192000"/>
              <a:gd name="connsiteY6" fmla="*/ 2464466 h 24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64466">
                <a:moveTo>
                  <a:pt x="0" y="0"/>
                </a:moveTo>
                <a:lnTo>
                  <a:pt x="12192000" y="0"/>
                </a:lnTo>
                <a:lnTo>
                  <a:pt x="12192000" y="2464465"/>
                </a:lnTo>
                <a:lnTo>
                  <a:pt x="12189754" y="2463380"/>
                </a:lnTo>
                <a:cubicBezTo>
                  <a:pt x="11016201" y="1928927"/>
                  <a:pt x="8727365" y="1566112"/>
                  <a:pt x="6096001" y="1566112"/>
                </a:cubicBezTo>
                <a:cubicBezTo>
                  <a:pt x="3464638" y="1566112"/>
                  <a:pt x="1175801" y="1928927"/>
                  <a:pt x="2248" y="2463380"/>
                </a:cubicBezTo>
                <a:lnTo>
                  <a:pt x="0" y="2464466"/>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534690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1271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589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4942EFD-EFDE-409E-97A8-52583A6AA133}"/>
              </a:ext>
            </a:extLst>
          </p:cNvPr>
          <p:cNvSpPr>
            <a:spLocks noGrp="1"/>
          </p:cNvSpPr>
          <p:nvPr>
            <p:ph type="pic" sz="quarter" idx="12" hasCustomPrompt="1"/>
          </p:nvPr>
        </p:nvSpPr>
        <p:spPr>
          <a:xfrm>
            <a:off x="6545310" y="1053434"/>
            <a:ext cx="4808490" cy="4851901"/>
          </a:xfrm>
          <a:custGeom>
            <a:avLst/>
            <a:gdLst>
              <a:gd name="connsiteX0" fmla="*/ 4524295 w 4808490"/>
              <a:gd name="connsiteY0" fmla="*/ 3640834 h 4851901"/>
              <a:gd name="connsiteX1" fmla="*/ 4528630 w 4808490"/>
              <a:gd name="connsiteY1" fmla="*/ 3641986 h 4851901"/>
              <a:gd name="connsiteX2" fmla="*/ 4525271 w 4808490"/>
              <a:gd name="connsiteY2" fmla="*/ 3642901 h 4851901"/>
              <a:gd name="connsiteX3" fmla="*/ 4524295 w 4808490"/>
              <a:gd name="connsiteY3" fmla="*/ 3640834 h 4851901"/>
              <a:gd name="connsiteX4" fmla="*/ 3558607 w 4808490"/>
              <a:gd name="connsiteY4" fmla="*/ 3144414 h 4851901"/>
              <a:gd name="connsiteX5" fmla="*/ 3556910 w 4808490"/>
              <a:gd name="connsiteY5" fmla="*/ 3147924 h 4851901"/>
              <a:gd name="connsiteX6" fmla="*/ 3542179 w 4808490"/>
              <a:gd name="connsiteY6" fmla="*/ 3166613 h 4851901"/>
              <a:gd name="connsiteX7" fmla="*/ 3533280 w 4808490"/>
              <a:gd name="connsiteY7" fmla="*/ 3188504 h 4851901"/>
              <a:gd name="connsiteX8" fmla="*/ 3537506 w 4808490"/>
              <a:gd name="connsiteY8" fmla="*/ 3184742 h 4851901"/>
              <a:gd name="connsiteX9" fmla="*/ 3556910 w 4808490"/>
              <a:gd name="connsiteY9" fmla="*/ 3147924 h 4851901"/>
              <a:gd name="connsiteX10" fmla="*/ 3559167 w 4808490"/>
              <a:gd name="connsiteY10" fmla="*/ 3145993 h 4851901"/>
              <a:gd name="connsiteX11" fmla="*/ 3559425 w 4808490"/>
              <a:gd name="connsiteY11" fmla="*/ 3145310 h 4851901"/>
              <a:gd name="connsiteX12" fmla="*/ 3558607 w 4808490"/>
              <a:gd name="connsiteY12" fmla="*/ 3144414 h 4851901"/>
              <a:gd name="connsiteX13" fmla="*/ 3570237 w 4808490"/>
              <a:gd name="connsiteY13" fmla="*/ 3143771 h 4851901"/>
              <a:gd name="connsiteX14" fmla="*/ 3555820 w 4808490"/>
              <a:gd name="connsiteY14" fmla="*/ 3162440 h 4851901"/>
              <a:gd name="connsiteX15" fmla="*/ 3548025 w 4808490"/>
              <a:gd name="connsiteY15" fmla="*/ 3174699 h 4851901"/>
              <a:gd name="connsiteX16" fmla="*/ 3543164 w 4808490"/>
              <a:gd name="connsiteY16" fmla="*/ 3184430 h 4851901"/>
              <a:gd name="connsiteX17" fmla="*/ 3569802 w 4808490"/>
              <a:gd name="connsiteY17" fmla="*/ 3145811 h 4851901"/>
              <a:gd name="connsiteX18" fmla="*/ 3570237 w 4808490"/>
              <a:gd name="connsiteY18" fmla="*/ 3143771 h 4851901"/>
              <a:gd name="connsiteX19" fmla="*/ 3582807 w 4808490"/>
              <a:gd name="connsiteY19" fmla="*/ 3120209 h 4851901"/>
              <a:gd name="connsiteX20" fmla="*/ 3571537 w 4808490"/>
              <a:gd name="connsiteY20" fmla="*/ 3133695 h 4851901"/>
              <a:gd name="connsiteX21" fmla="*/ 3569875 w 4808490"/>
              <a:gd name="connsiteY21" fmla="*/ 3137220 h 4851901"/>
              <a:gd name="connsiteX22" fmla="*/ 3581929 w 4808490"/>
              <a:gd name="connsiteY22" fmla="*/ 3124281 h 4851901"/>
              <a:gd name="connsiteX23" fmla="*/ 3582910 w 4808490"/>
              <a:gd name="connsiteY23" fmla="*/ 3121636 h 4851901"/>
              <a:gd name="connsiteX24" fmla="*/ 3582807 w 4808490"/>
              <a:gd name="connsiteY24" fmla="*/ 3120209 h 4851901"/>
              <a:gd name="connsiteX25" fmla="*/ 3583575 w 4808490"/>
              <a:gd name="connsiteY25" fmla="*/ 3099194 h 4851901"/>
              <a:gd name="connsiteX26" fmla="*/ 3577907 w 4808490"/>
              <a:gd name="connsiteY26" fmla="*/ 3105761 h 4851901"/>
              <a:gd name="connsiteX27" fmla="*/ 3572613 w 4808490"/>
              <a:gd name="connsiteY27" fmla="*/ 3112626 h 4851901"/>
              <a:gd name="connsiteX28" fmla="*/ 3582561 w 4808490"/>
              <a:gd name="connsiteY28" fmla="*/ 3102222 h 4851901"/>
              <a:gd name="connsiteX29" fmla="*/ 3583575 w 4808490"/>
              <a:gd name="connsiteY29" fmla="*/ 3099194 h 4851901"/>
              <a:gd name="connsiteX30" fmla="*/ 3375830 w 4808490"/>
              <a:gd name="connsiteY30" fmla="*/ 3089352 h 4851901"/>
              <a:gd name="connsiteX31" fmla="*/ 3371743 w 4808490"/>
              <a:gd name="connsiteY31" fmla="*/ 3089578 h 4851901"/>
              <a:gd name="connsiteX32" fmla="*/ 3373819 w 4808490"/>
              <a:gd name="connsiteY32" fmla="*/ 3090054 h 4851901"/>
              <a:gd name="connsiteX33" fmla="*/ 3375830 w 4808490"/>
              <a:gd name="connsiteY33" fmla="*/ 3089352 h 4851901"/>
              <a:gd name="connsiteX34" fmla="*/ 3610693 w 4808490"/>
              <a:gd name="connsiteY34" fmla="*/ 3060056 h 4851901"/>
              <a:gd name="connsiteX35" fmla="*/ 3603467 w 4808490"/>
              <a:gd name="connsiteY35" fmla="*/ 3071921 h 4851901"/>
              <a:gd name="connsiteX36" fmla="*/ 3596513 w 4808490"/>
              <a:gd name="connsiteY36" fmla="*/ 3088700 h 4851901"/>
              <a:gd name="connsiteX37" fmla="*/ 3582633 w 4808490"/>
              <a:gd name="connsiteY37" fmla="*/ 3117064 h 4851901"/>
              <a:gd name="connsiteX38" fmla="*/ 3588015 w 4808490"/>
              <a:gd name="connsiteY38" fmla="*/ 3111772 h 4851901"/>
              <a:gd name="connsiteX39" fmla="*/ 3610693 w 4808490"/>
              <a:gd name="connsiteY39" fmla="*/ 3060056 h 4851901"/>
              <a:gd name="connsiteX40" fmla="*/ 3449807 w 4808490"/>
              <a:gd name="connsiteY40" fmla="*/ 3045599 h 4851901"/>
              <a:gd name="connsiteX41" fmla="*/ 3440321 w 4808490"/>
              <a:gd name="connsiteY41" fmla="*/ 3058186 h 4851901"/>
              <a:gd name="connsiteX42" fmla="*/ 3434131 w 4808490"/>
              <a:gd name="connsiteY42" fmla="*/ 3070230 h 4851901"/>
              <a:gd name="connsiteX43" fmla="*/ 3449796 w 4808490"/>
              <a:gd name="connsiteY43" fmla="*/ 3046116 h 4851901"/>
              <a:gd name="connsiteX44" fmla="*/ 3616371 w 4808490"/>
              <a:gd name="connsiteY44" fmla="*/ 3044431 h 4851901"/>
              <a:gd name="connsiteX45" fmla="*/ 3613653 w 4808490"/>
              <a:gd name="connsiteY45" fmla="*/ 3045173 h 4851901"/>
              <a:gd name="connsiteX46" fmla="*/ 3615761 w 4808490"/>
              <a:gd name="connsiteY46" fmla="*/ 3046239 h 4851901"/>
              <a:gd name="connsiteX47" fmla="*/ 3617740 w 4808490"/>
              <a:gd name="connsiteY47" fmla="*/ 3044947 h 4851901"/>
              <a:gd name="connsiteX48" fmla="*/ 3616371 w 4808490"/>
              <a:gd name="connsiteY48" fmla="*/ 3044431 h 4851901"/>
              <a:gd name="connsiteX49" fmla="*/ 3628876 w 4808490"/>
              <a:gd name="connsiteY49" fmla="*/ 2992135 h 4851901"/>
              <a:gd name="connsiteX50" fmla="*/ 3626498 w 4808490"/>
              <a:gd name="connsiteY50" fmla="*/ 2992423 h 4851901"/>
              <a:gd name="connsiteX51" fmla="*/ 3624786 w 4808490"/>
              <a:gd name="connsiteY51" fmla="*/ 2995673 h 4851901"/>
              <a:gd name="connsiteX52" fmla="*/ 3626747 w 4808490"/>
              <a:gd name="connsiteY52" fmla="*/ 2996919 h 4851901"/>
              <a:gd name="connsiteX53" fmla="*/ 3628127 w 4808490"/>
              <a:gd name="connsiteY53" fmla="*/ 2994810 h 4851901"/>
              <a:gd name="connsiteX54" fmla="*/ 3628876 w 4808490"/>
              <a:gd name="connsiteY54" fmla="*/ 2992135 h 4851901"/>
              <a:gd name="connsiteX55" fmla="*/ 3663280 w 4808490"/>
              <a:gd name="connsiteY55" fmla="*/ 2973333 h 4851901"/>
              <a:gd name="connsiteX56" fmla="*/ 3661349 w 4808490"/>
              <a:gd name="connsiteY56" fmla="*/ 2973505 h 4851901"/>
              <a:gd name="connsiteX57" fmla="*/ 3661205 w 4808490"/>
              <a:gd name="connsiteY57" fmla="*/ 2973519 h 4851901"/>
              <a:gd name="connsiteX58" fmla="*/ 3660239 w 4808490"/>
              <a:gd name="connsiteY58" fmla="*/ 2973605 h 4851901"/>
              <a:gd name="connsiteX59" fmla="*/ 3660189 w 4808490"/>
              <a:gd name="connsiteY59" fmla="*/ 2973610 h 4851901"/>
              <a:gd name="connsiteX60" fmla="*/ 3661205 w 4808490"/>
              <a:gd name="connsiteY60" fmla="*/ 2973519 h 4851901"/>
              <a:gd name="connsiteX61" fmla="*/ 3747426 w 4808490"/>
              <a:gd name="connsiteY61" fmla="*/ 2936900 h 4851901"/>
              <a:gd name="connsiteX62" fmla="*/ 3739395 w 4808490"/>
              <a:gd name="connsiteY62" fmla="*/ 2951247 h 4851901"/>
              <a:gd name="connsiteX63" fmla="*/ 3724267 w 4808490"/>
              <a:gd name="connsiteY63" fmla="*/ 2971928 h 4851901"/>
              <a:gd name="connsiteX64" fmla="*/ 3707033 w 4808490"/>
              <a:gd name="connsiteY64" fmla="*/ 2998606 h 4851901"/>
              <a:gd name="connsiteX65" fmla="*/ 3712020 w 4808490"/>
              <a:gd name="connsiteY65" fmla="*/ 3001102 h 4851901"/>
              <a:gd name="connsiteX66" fmla="*/ 3731825 w 4808490"/>
              <a:gd name="connsiteY66" fmla="*/ 2975508 h 4851901"/>
              <a:gd name="connsiteX67" fmla="*/ 3734209 w 4808490"/>
              <a:gd name="connsiteY67" fmla="*/ 2972627 h 4851901"/>
              <a:gd name="connsiteX68" fmla="*/ 3745659 w 4808490"/>
              <a:gd name="connsiteY68" fmla="*/ 2942268 h 4851901"/>
              <a:gd name="connsiteX69" fmla="*/ 3678005 w 4808490"/>
              <a:gd name="connsiteY69" fmla="*/ 2909238 h 4851901"/>
              <a:gd name="connsiteX70" fmla="*/ 3662519 w 4808490"/>
              <a:gd name="connsiteY70" fmla="*/ 2939088 h 4851901"/>
              <a:gd name="connsiteX71" fmla="*/ 3660453 w 4808490"/>
              <a:gd name="connsiteY71" fmla="*/ 2942050 h 4851901"/>
              <a:gd name="connsiteX72" fmla="*/ 3673995 w 4808490"/>
              <a:gd name="connsiteY72" fmla="*/ 2911277 h 4851901"/>
              <a:gd name="connsiteX73" fmla="*/ 3675187 w 4808490"/>
              <a:gd name="connsiteY73" fmla="*/ 2910258 h 4851901"/>
              <a:gd name="connsiteX74" fmla="*/ 3678005 w 4808490"/>
              <a:gd name="connsiteY74" fmla="*/ 2909238 h 4851901"/>
              <a:gd name="connsiteX75" fmla="*/ 4399585 w 4808490"/>
              <a:gd name="connsiteY75" fmla="*/ 2898798 h 4851901"/>
              <a:gd name="connsiteX76" fmla="*/ 4399002 w 4808490"/>
              <a:gd name="connsiteY76" fmla="*/ 2899410 h 4851901"/>
              <a:gd name="connsiteX77" fmla="*/ 4397647 w 4808490"/>
              <a:gd name="connsiteY77" fmla="*/ 2902824 h 4851901"/>
              <a:gd name="connsiteX78" fmla="*/ 4398603 w 4808490"/>
              <a:gd name="connsiteY78" fmla="*/ 2903990 h 4851901"/>
              <a:gd name="connsiteX79" fmla="*/ 4399751 w 4808490"/>
              <a:gd name="connsiteY79" fmla="*/ 2899253 h 4851901"/>
              <a:gd name="connsiteX80" fmla="*/ 3516040 w 4808490"/>
              <a:gd name="connsiteY80" fmla="*/ 2878889 h 4851901"/>
              <a:gd name="connsiteX81" fmla="*/ 3495921 w 4808490"/>
              <a:gd name="connsiteY81" fmla="*/ 2942619 h 4851901"/>
              <a:gd name="connsiteX82" fmla="*/ 3460110 w 4808490"/>
              <a:gd name="connsiteY82" fmla="*/ 3022660 h 4851901"/>
              <a:gd name="connsiteX83" fmla="*/ 3454776 w 4808490"/>
              <a:gd name="connsiteY83" fmla="*/ 3034520 h 4851901"/>
              <a:gd name="connsiteX84" fmla="*/ 3452933 w 4808490"/>
              <a:gd name="connsiteY84" fmla="*/ 3038139 h 4851901"/>
              <a:gd name="connsiteX85" fmla="*/ 3453785 w 4808490"/>
              <a:gd name="connsiteY85" fmla="*/ 3039812 h 4851901"/>
              <a:gd name="connsiteX86" fmla="*/ 3475148 w 4808490"/>
              <a:gd name="connsiteY86" fmla="*/ 2999739 h 4851901"/>
              <a:gd name="connsiteX87" fmla="*/ 3476064 w 4808490"/>
              <a:gd name="connsiteY87" fmla="*/ 2997597 h 4851901"/>
              <a:gd name="connsiteX88" fmla="*/ 3503670 w 4808490"/>
              <a:gd name="connsiteY88" fmla="*/ 2929509 h 4851901"/>
              <a:gd name="connsiteX89" fmla="*/ 3509190 w 4808490"/>
              <a:gd name="connsiteY89" fmla="*/ 2916161 h 4851901"/>
              <a:gd name="connsiteX90" fmla="*/ 3516073 w 4808490"/>
              <a:gd name="connsiteY90" fmla="*/ 2882610 h 4851901"/>
              <a:gd name="connsiteX91" fmla="*/ 4413555 w 4808490"/>
              <a:gd name="connsiteY91" fmla="*/ 2873071 h 4851901"/>
              <a:gd name="connsiteX92" fmla="*/ 4413389 w 4808490"/>
              <a:gd name="connsiteY92" fmla="*/ 2873421 h 4851901"/>
              <a:gd name="connsiteX93" fmla="*/ 4408683 w 4808490"/>
              <a:gd name="connsiteY93" fmla="*/ 2886158 h 4851901"/>
              <a:gd name="connsiteX94" fmla="*/ 4409276 w 4808490"/>
              <a:gd name="connsiteY94" fmla="*/ 2885931 h 4851901"/>
              <a:gd name="connsiteX95" fmla="*/ 4411898 w 4808490"/>
              <a:gd name="connsiteY95" fmla="*/ 2878595 h 4851901"/>
              <a:gd name="connsiteX96" fmla="*/ 4352899 w 4808490"/>
              <a:gd name="connsiteY96" fmla="*/ 2867169 h 4851901"/>
              <a:gd name="connsiteX97" fmla="*/ 4347409 w 4808490"/>
              <a:gd name="connsiteY97" fmla="*/ 2886321 h 4851901"/>
              <a:gd name="connsiteX98" fmla="*/ 4344762 w 4808490"/>
              <a:gd name="connsiteY98" fmla="*/ 2897425 h 4851901"/>
              <a:gd name="connsiteX99" fmla="*/ 4344105 w 4808490"/>
              <a:gd name="connsiteY99" fmla="*/ 2901106 h 4851901"/>
              <a:gd name="connsiteX100" fmla="*/ 4346839 w 4808490"/>
              <a:gd name="connsiteY100" fmla="*/ 2893635 h 4851901"/>
              <a:gd name="connsiteX101" fmla="*/ 4352604 w 4808490"/>
              <a:gd name="connsiteY101" fmla="*/ 2868946 h 4851901"/>
              <a:gd name="connsiteX102" fmla="*/ 3515782 w 4808490"/>
              <a:gd name="connsiteY102" fmla="*/ 2850466 h 4851901"/>
              <a:gd name="connsiteX103" fmla="*/ 3508227 w 4808490"/>
              <a:gd name="connsiteY103" fmla="*/ 2872291 h 4851901"/>
              <a:gd name="connsiteX104" fmla="*/ 3443901 w 4808490"/>
              <a:gd name="connsiteY104" fmla="*/ 3024609 h 4851901"/>
              <a:gd name="connsiteX105" fmla="*/ 3372555 w 4808490"/>
              <a:gd name="connsiteY105" fmla="*/ 3153621 h 4851901"/>
              <a:gd name="connsiteX106" fmla="*/ 3372988 w 4808490"/>
              <a:gd name="connsiteY106" fmla="*/ 3153158 h 4851901"/>
              <a:gd name="connsiteX107" fmla="*/ 3396446 w 4808490"/>
              <a:gd name="connsiteY107" fmla="*/ 3123591 h 4851901"/>
              <a:gd name="connsiteX108" fmla="*/ 3439594 w 4808490"/>
              <a:gd name="connsiteY108" fmla="*/ 3045085 h 4851901"/>
              <a:gd name="connsiteX109" fmla="*/ 3481344 w 4808490"/>
              <a:gd name="connsiteY109" fmla="*/ 2952691 h 4851901"/>
              <a:gd name="connsiteX110" fmla="*/ 3515995 w 4808490"/>
              <a:gd name="connsiteY110" fmla="*/ 2874072 h 4851901"/>
              <a:gd name="connsiteX111" fmla="*/ 3483065 w 4808490"/>
              <a:gd name="connsiteY111" fmla="*/ 2839254 h 4851901"/>
              <a:gd name="connsiteX112" fmla="*/ 3482033 w 4808490"/>
              <a:gd name="connsiteY112" fmla="*/ 2840908 h 4851901"/>
              <a:gd name="connsiteX113" fmla="*/ 3481711 w 4808490"/>
              <a:gd name="connsiteY113" fmla="*/ 2840446 h 4851901"/>
              <a:gd name="connsiteX114" fmla="*/ 3483065 w 4808490"/>
              <a:gd name="connsiteY114" fmla="*/ 2839254 h 4851901"/>
              <a:gd name="connsiteX115" fmla="*/ 4628312 w 4808490"/>
              <a:gd name="connsiteY115" fmla="*/ 2824786 h 4851901"/>
              <a:gd name="connsiteX116" fmla="*/ 4621821 w 4808490"/>
              <a:gd name="connsiteY116" fmla="*/ 2839463 h 4851901"/>
              <a:gd name="connsiteX117" fmla="*/ 4590687 w 4808490"/>
              <a:gd name="connsiteY117" fmla="*/ 2893702 h 4851901"/>
              <a:gd name="connsiteX118" fmla="*/ 4605083 w 4808490"/>
              <a:gd name="connsiteY118" fmla="*/ 2888643 h 4851901"/>
              <a:gd name="connsiteX119" fmla="*/ 4616522 w 4808490"/>
              <a:gd name="connsiteY119" fmla="*/ 2874055 h 4851901"/>
              <a:gd name="connsiteX120" fmla="*/ 4620012 w 4808490"/>
              <a:gd name="connsiteY120" fmla="*/ 2873212 h 4851901"/>
              <a:gd name="connsiteX121" fmla="*/ 4620305 w 4808490"/>
              <a:gd name="connsiteY121" fmla="*/ 2872726 h 4851901"/>
              <a:gd name="connsiteX122" fmla="*/ 4620842 w 4808490"/>
              <a:gd name="connsiteY122" fmla="*/ 2870311 h 4851901"/>
              <a:gd name="connsiteX123" fmla="*/ 4421224 w 4808490"/>
              <a:gd name="connsiteY123" fmla="*/ 2824112 h 4851901"/>
              <a:gd name="connsiteX124" fmla="*/ 4418354 w 4808490"/>
              <a:gd name="connsiteY124" fmla="*/ 2824117 h 4851901"/>
              <a:gd name="connsiteX125" fmla="*/ 4417128 w 4808490"/>
              <a:gd name="connsiteY125" fmla="*/ 2826624 h 4851901"/>
              <a:gd name="connsiteX126" fmla="*/ 4416855 w 4808490"/>
              <a:gd name="connsiteY126" fmla="*/ 2827633 h 4851901"/>
              <a:gd name="connsiteX127" fmla="*/ 4416693 w 4808490"/>
              <a:gd name="connsiteY127" fmla="*/ 2831502 h 4851901"/>
              <a:gd name="connsiteX128" fmla="*/ 4417723 w 4808490"/>
              <a:gd name="connsiteY128" fmla="*/ 2832314 h 4851901"/>
              <a:gd name="connsiteX129" fmla="*/ 4421224 w 4808490"/>
              <a:gd name="connsiteY129" fmla="*/ 2824112 h 4851901"/>
              <a:gd name="connsiteX130" fmla="*/ 4295849 w 4808490"/>
              <a:gd name="connsiteY130" fmla="*/ 2811631 h 4851901"/>
              <a:gd name="connsiteX131" fmla="*/ 4295373 w 4808490"/>
              <a:gd name="connsiteY131" fmla="*/ 2812217 h 4851901"/>
              <a:gd name="connsiteX132" fmla="*/ 4286896 w 4808490"/>
              <a:gd name="connsiteY132" fmla="*/ 2823702 h 4851901"/>
              <a:gd name="connsiteX133" fmla="*/ 4283461 w 4808490"/>
              <a:gd name="connsiteY133" fmla="*/ 2833654 h 4851901"/>
              <a:gd name="connsiteX134" fmla="*/ 4287100 w 4808490"/>
              <a:gd name="connsiteY134" fmla="*/ 2830785 h 4851901"/>
              <a:gd name="connsiteX135" fmla="*/ 4292011 w 4808490"/>
              <a:gd name="connsiteY135" fmla="*/ 2823684 h 4851901"/>
              <a:gd name="connsiteX136" fmla="*/ 4295788 w 4808490"/>
              <a:gd name="connsiteY136" fmla="*/ 2811969 h 4851901"/>
              <a:gd name="connsiteX137" fmla="*/ 3773192 w 4808490"/>
              <a:gd name="connsiteY137" fmla="*/ 2751200 h 4851901"/>
              <a:gd name="connsiteX138" fmla="*/ 3771726 w 4808490"/>
              <a:gd name="connsiteY138" fmla="*/ 2756517 h 4851901"/>
              <a:gd name="connsiteX139" fmla="*/ 3770171 w 4808490"/>
              <a:gd name="connsiteY139" fmla="*/ 2760908 h 4851901"/>
              <a:gd name="connsiteX140" fmla="*/ 3746862 w 4808490"/>
              <a:gd name="connsiteY140" fmla="*/ 2792630 h 4851901"/>
              <a:gd name="connsiteX141" fmla="*/ 3747975 w 4808490"/>
              <a:gd name="connsiteY141" fmla="*/ 2788844 h 4851901"/>
              <a:gd name="connsiteX142" fmla="*/ 3749834 w 4808490"/>
              <a:gd name="connsiteY142" fmla="*/ 2780271 h 4851901"/>
              <a:gd name="connsiteX143" fmla="*/ 3760941 w 4808490"/>
              <a:gd name="connsiteY143" fmla="*/ 2765829 h 4851901"/>
              <a:gd name="connsiteX144" fmla="*/ 4642534 w 4808490"/>
              <a:gd name="connsiteY144" fmla="*/ 2737477 h 4851901"/>
              <a:gd name="connsiteX145" fmla="*/ 4637295 w 4808490"/>
              <a:gd name="connsiteY145" fmla="*/ 2745948 h 4851901"/>
              <a:gd name="connsiteX146" fmla="*/ 4579148 w 4808490"/>
              <a:gd name="connsiteY146" fmla="*/ 2851498 h 4851901"/>
              <a:gd name="connsiteX147" fmla="*/ 4577157 w 4808490"/>
              <a:gd name="connsiteY147" fmla="*/ 2863444 h 4851901"/>
              <a:gd name="connsiteX148" fmla="*/ 4579932 w 4808490"/>
              <a:gd name="connsiteY148" fmla="*/ 2858149 h 4851901"/>
              <a:gd name="connsiteX149" fmla="*/ 4607695 w 4808490"/>
              <a:gd name="connsiteY149" fmla="*/ 2811501 h 4851901"/>
              <a:gd name="connsiteX150" fmla="*/ 4615194 w 4808490"/>
              <a:gd name="connsiteY150" fmla="*/ 2808209 h 4851901"/>
              <a:gd name="connsiteX151" fmla="*/ 4626386 w 4808490"/>
              <a:gd name="connsiteY151" fmla="*/ 2788620 h 4851901"/>
              <a:gd name="connsiteX152" fmla="*/ 4636854 w 4808490"/>
              <a:gd name="connsiteY152" fmla="*/ 2772720 h 4851901"/>
              <a:gd name="connsiteX153" fmla="*/ 4642322 w 4808490"/>
              <a:gd name="connsiteY153" fmla="*/ 2739402 h 4851901"/>
              <a:gd name="connsiteX154" fmla="*/ 4449876 w 4808490"/>
              <a:gd name="connsiteY154" fmla="*/ 2720500 h 4851901"/>
              <a:gd name="connsiteX155" fmla="*/ 4448985 w 4808490"/>
              <a:gd name="connsiteY155" fmla="*/ 2728456 h 4851901"/>
              <a:gd name="connsiteX156" fmla="*/ 4446052 w 4808490"/>
              <a:gd name="connsiteY156" fmla="*/ 2734155 h 4851901"/>
              <a:gd name="connsiteX157" fmla="*/ 4449876 w 4808490"/>
              <a:gd name="connsiteY157" fmla="*/ 2720500 h 4851901"/>
              <a:gd name="connsiteX158" fmla="*/ 4450934 w 4808490"/>
              <a:gd name="connsiteY158" fmla="*/ 2715273 h 4851901"/>
              <a:gd name="connsiteX159" fmla="*/ 4451311 w 4808490"/>
              <a:gd name="connsiteY159" fmla="*/ 2719034 h 4851901"/>
              <a:gd name="connsiteX160" fmla="*/ 4449876 w 4808490"/>
              <a:gd name="connsiteY160" fmla="*/ 2720500 h 4851901"/>
              <a:gd name="connsiteX161" fmla="*/ 4448911 w 4808490"/>
              <a:gd name="connsiteY161" fmla="*/ 2717533 h 4851901"/>
              <a:gd name="connsiteX162" fmla="*/ 4450934 w 4808490"/>
              <a:gd name="connsiteY162" fmla="*/ 2715273 h 4851901"/>
              <a:gd name="connsiteX163" fmla="*/ 4451992 w 4808490"/>
              <a:gd name="connsiteY163" fmla="*/ 2710047 h 4851901"/>
              <a:gd name="connsiteX164" fmla="*/ 4452368 w 4808490"/>
              <a:gd name="connsiteY164" fmla="*/ 2713809 h 4851901"/>
              <a:gd name="connsiteX165" fmla="*/ 4450934 w 4808490"/>
              <a:gd name="connsiteY165" fmla="*/ 2715273 h 4851901"/>
              <a:gd name="connsiteX166" fmla="*/ 4449970 w 4808490"/>
              <a:gd name="connsiteY166" fmla="*/ 2712307 h 4851901"/>
              <a:gd name="connsiteX167" fmla="*/ 4451992 w 4808490"/>
              <a:gd name="connsiteY167" fmla="*/ 2710047 h 4851901"/>
              <a:gd name="connsiteX168" fmla="*/ 4320619 w 4808490"/>
              <a:gd name="connsiteY168" fmla="*/ 2658773 h 4851901"/>
              <a:gd name="connsiteX169" fmla="*/ 4310331 w 4808490"/>
              <a:gd name="connsiteY169" fmla="*/ 2675054 h 4851901"/>
              <a:gd name="connsiteX170" fmla="*/ 4311054 w 4808490"/>
              <a:gd name="connsiteY170" fmla="*/ 2684760 h 4851901"/>
              <a:gd name="connsiteX171" fmla="*/ 4293595 w 4808490"/>
              <a:gd name="connsiteY171" fmla="*/ 2724234 h 4851901"/>
              <a:gd name="connsiteX172" fmla="*/ 4287468 w 4808490"/>
              <a:gd name="connsiteY172" fmla="*/ 2734868 h 4851901"/>
              <a:gd name="connsiteX173" fmla="*/ 4280987 w 4808490"/>
              <a:gd name="connsiteY173" fmla="*/ 2745952 h 4851901"/>
              <a:gd name="connsiteX174" fmla="*/ 4276576 w 4808490"/>
              <a:gd name="connsiteY174" fmla="*/ 2773592 h 4851901"/>
              <a:gd name="connsiteX175" fmla="*/ 4276858 w 4808490"/>
              <a:gd name="connsiteY175" fmla="*/ 2773413 h 4851901"/>
              <a:gd name="connsiteX176" fmla="*/ 4288296 w 4808490"/>
              <a:gd name="connsiteY176" fmla="*/ 2758826 h 4851901"/>
              <a:gd name="connsiteX177" fmla="*/ 4305626 w 4808490"/>
              <a:gd name="connsiteY177" fmla="*/ 2734617 h 4851901"/>
              <a:gd name="connsiteX178" fmla="*/ 4311479 w 4808490"/>
              <a:gd name="connsiteY178" fmla="*/ 2725358 h 4851901"/>
              <a:gd name="connsiteX179" fmla="*/ 4451501 w 4808490"/>
              <a:gd name="connsiteY179" fmla="*/ 2644712 h 4851901"/>
              <a:gd name="connsiteX180" fmla="*/ 4450282 w 4808490"/>
              <a:gd name="connsiteY180" fmla="*/ 2650366 h 4851901"/>
              <a:gd name="connsiteX181" fmla="*/ 4449486 w 4808490"/>
              <a:gd name="connsiteY181" fmla="*/ 2651677 h 4851901"/>
              <a:gd name="connsiteX182" fmla="*/ 4327192 w 4808490"/>
              <a:gd name="connsiteY182" fmla="*/ 2601417 h 4851901"/>
              <a:gd name="connsiteX183" fmla="*/ 4309068 w 4808490"/>
              <a:gd name="connsiteY183" fmla="*/ 2630719 h 4851901"/>
              <a:gd name="connsiteX184" fmla="*/ 4291073 w 4808490"/>
              <a:gd name="connsiteY184" fmla="*/ 2663385 h 4851901"/>
              <a:gd name="connsiteX185" fmla="*/ 4290636 w 4808490"/>
              <a:gd name="connsiteY185" fmla="*/ 2668725 h 4851901"/>
              <a:gd name="connsiteX186" fmla="*/ 4288227 w 4808490"/>
              <a:gd name="connsiteY186" fmla="*/ 2690776 h 4851901"/>
              <a:gd name="connsiteX187" fmla="*/ 4298161 w 4808490"/>
              <a:gd name="connsiteY187" fmla="*/ 2673390 h 4851901"/>
              <a:gd name="connsiteX188" fmla="*/ 4310994 w 4808490"/>
              <a:gd name="connsiteY188" fmla="*/ 2653900 h 4851901"/>
              <a:gd name="connsiteX189" fmla="*/ 4320729 w 4808490"/>
              <a:gd name="connsiteY189" fmla="*/ 2650431 h 4851901"/>
              <a:gd name="connsiteX190" fmla="*/ 4322008 w 4808490"/>
              <a:gd name="connsiteY190" fmla="*/ 2648651 h 4851901"/>
              <a:gd name="connsiteX191" fmla="*/ 4322209 w 4808490"/>
              <a:gd name="connsiteY191" fmla="*/ 2647185 h 4851901"/>
              <a:gd name="connsiteX192" fmla="*/ 4321135 w 4808490"/>
              <a:gd name="connsiteY192" fmla="*/ 2648390 h 4851901"/>
              <a:gd name="connsiteX193" fmla="*/ 4322313 w 4808490"/>
              <a:gd name="connsiteY193" fmla="*/ 2646435 h 4851901"/>
              <a:gd name="connsiteX194" fmla="*/ 4326003 w 4808490"/>
              <a:gd name="connsiteY194" fmla="*/ 2619554 h 4851901"/>
              <a:gd name="connsiteX195" fmla="*/ 4108728 w 4808490"/>
              <a:gd name="connsiteY195" fmla="*/ 2205773 h 4851901"/>
              <a:gd name="connsiteX196" fmla="*/ 4108049 w 4808490"/>
              <a:gd name="connsiteY196" fmla="*/ 2210434 h 4851901"/>
              <a:gd name="connsiteX197" fmla="*/ 4104906 w 4808490"/>
              <a:gd name="connsiteY197" fmla="*/ 2209380 h 4851901"/>
              <a:gd name="connsiteX198" fmla="*/ 4108728 w 4808490"/>
              <a:gd name="connsiteY198" fmla="*/ 2205773 h 4851901"/>
              <a:gd name="connsiteX199" fmla="*/ 3872118 w 4808490"/>
              <a:gd name="connsiteY199" fmla="*/ 2188720 h 4851901"/>
              <a:gd name="connsiteX200" fmla="*/ 3873179 w 4808490"/>
              <a:gd name="connsiteY200" fmla="*/ 2194065 h 4851901"/>
              <a:gd name="connsiteX201" fmla="*/ 3874677 w 4808490"/>
              <a:gd name="connsiteY201" fmla="*/ 2206087 h 4851901"/>
              <a:gd name="connsiteX202" fmla="*/ 3888165 w 4808490"/>
              <a:gd name="connsiteY202" fmla="*/ 2227325 h 4851901"/>
              <a:gd name="connsiteX203" fmla="*/ 3903202 w 4808490"/>
              <a:gd name="connsiteY203" fmla="*/ 2248962 h 4851901"/>
              <a:gd name="connsiteX204" fmla="*/ 3901843 w 4808490"/>
              <a:gd name="connsiteY204" fmla="*/ 2241466 h 4851901"/>
              <a:gd name="connsiteX205" fmla="*/ 3900249 w 4808490"/>
              <a:gd name="connsiteY205" fmla="*/ 2235238 h 4851901"/>
              <a:gd name="connsiteX206" fmla="*/ 4087962 w 4808490"/>
              <a:gd name="connsiteY206" fmla="*/ 2162425 h 4851901"/>
              <a:gd name="connsiteX207" fmla="*/ 4101157 w 4808490"/>
              <a:gd name="connsiteY207" fmla="*/ 2182952 h 4851901"/>
              <a:gd name="connsiteX208" fmla="*/ 4087962 w 4808490"/>
              <a:gd name="connsiteY208" fmla="*/ 2162425 h 4851901"/>
              <a:gd name="connsiteX209" fmla="*/ 4073566 w 4808490"/>
              <a:gd name="connsiteY209" fmla="*/ 2134861 h 4851901"/>
              <a:gd name="connsiteX210" fmla="*/ 4074333 w 4808490"/>
              <a:gd name="connsiteY210" fmla="*/ 2139346 h 4851901"/>
              <a:gd name="connsiteX211" fmla="*/ 4073566 w 4808490"/>
              <a:gd name="connsiteY211" fmla="*/ 2134861 h 4851901"/>
              <a:gd name="connsiteX212" fmla="*/ 4086591 w 4808490"/>
              <a:gd name="connsiteY212" fmla="*/ 2088177 h 4851901"/>
              <a:gd name="connsiteX213" fmla="*/ 4087648 w 4808490"/>
              <a:gd name="connsiteY213" fmla="*/ 2088223 h 4851901"/>
              <a:gd name="connsiteX214" fmla="*/ 4088405 w 4808490"/>
              <a:gd name="connsiteY214" fmla="*/ 2090427 h 4851901"/>
              <a:gd name="connsiteX215" fmla="*/ 4083256 w 4808490"/>
              <a:gd name="connsiteY215" fmla="*/ 2084044 h 4851901"/>
              <a:gd name="connsiteX216" fmla="*/ 4086591 w 4808490"/>
              <a:gd name="connsiteY216" fmla="*/ 2088177 h 4851901"/>
              <a:gd name="connsiteX217" fmla="*/ 4084951 w 4808490"/>
              <a:gd name="connsiteY217" fmla="*/ 2088108 h 4851901"/>
              <a:gd name="connsiteX218" fmla="*/ 3797709 w 4808490"/>
              <a:gd name="connsiteY218" fmla="*/ 2049761 h 4851901"/>
              <a:gd name="connsiteX219" fmla="*/ 3807622 w 4808490"/>
              <a:gd name="connsiteY219" fmla="*/ 2081348 h 4851901"/>
              <a:gd name="connsiteX220" fmla="*/ 3813133 w 4808490"/>
              <a:gd name="connsiteY220" fmla="*/ 2105435 h 4851901"/>
              <a:gd name="connsiteX221" fmla="*/ 3846321 w 4808490"/>
              <a:gd name="connsiteY221" fmla="*/ 2161426 h 4851901"/>
              <a:gd name="connsiteX222" fmla="*/ 3851670 w 4808490"/>
              <a:gd name="connsiteY222" fmla="*/ 2169851 h 4851901"/>
              <a:gd name="connsiteX223" fmla="*/ 3850384 w 4808490"/>
              <a:gd name="connsiteY223" fmla="*/ 2163634 h 4851901"/>
              <a:gd name="connsiteX224" fmla="*/ 3847250 w 4808490"/>
              <a:gd name="connsiteY224" fmla="*/ 2146935 h 4851901"/>
              <a:gd name="connsiteX225" fmla="*/ 3847979 w 4808490"/>
              <a:gd name="connsiteY225" fmla="*/ 2147170 h 4851901"/>
              <a:gd name="connsiteX226" fmla="*/ 3832261 w 4808490"/>
              <a:gd name="connsiteY226" fmla="*/ 2119797 h 4851901"/>
              <a:gd name="connsiteX227" fmla="*/ 3805084 w 4808490"/>
              <a:gd name="connsiteY227" fmla="*/ 2061458 h 4851901"/>
              <a:gd name="connsiteX228" fmla="*/ 4559169 w 4808490"/>
              <a:gd name="connsiteY228" fmla="*/ 2038852 h 4851901"/>
              <a:gd name="connsiteX229" fmla="*/ 4558488 w 4808490"/>
              <a:gd name="connsiteY229" fmla="*/ 2043513 h 4851901"/>
              <a:gd name="connsiteX230" fmla="*/ 4555347 w 4808490"/>
              <a:gd name="connsiteY230" fmla="*/ 2042460 h 4851901"/>
              <a:gd name="connsiteX231" fmla="*/ 4559169 w 4808490"/>
              <a:gd name="connsiteY231" fmla="*/ 2038852 h 4851901"/>
              <a:gd name="connsiteX232" fmla="*/ 4551597 w 4808490"/>
              <a:gd name="connsiteY232" fmla="*/ 2016033 h 4851901"/>
              <a:gd name="connsiteX233" fmla="*/ 4555698 w 4808490"/>
              <a:gd name="connsiteY233" fmla="*/ 2021558 h 4851901"/>
              <a:gd name="connsiteX234" fmla="*/ 4556675 w 4808490"/>
              <a:gd name="connsiteY234" fmla="*/ 2025548 h 4851901"/>
              <a:gd name="connsiteX235" fmla="*/ 4538401 w 4808490"/>
              <a:gd name="connsiteY235" fmla="*/ 1995505 h 4851901"/>
              <a:gd name="connsiteX236" fmla="*/ 4551597 w 4808490"/>
              <a:gd name="connsiteY236" fmla="*/ 2016033 h 4851901"/>
              <a:gd name="connsiteX237" fmla="*/ 4538401 w 4808490"/>
              <a:gd name="connsiteY237" fmla="*/ 1995505 h 4851901"/>
              <a:gd name="connsiteX238" fmla="*/ 3771773 w 4808490"/>
              <a:gd name="connsiteY238" fmla="*/ 1972517 h 4851901"/>
              <a:gd name="connsiteX239" fmla="*/ 3786588 w 4808490"/>
              <a:gd name="connsiteY239" fmla="*/ 2016519 h 4851901"/>
              <a:gd name="connsiteX240" fmla="*/ 3788103 w 4808490"/>
              <a:gd name="connsiteY240" fmla="*/ 2018066 h 4851901"/>
              <a:gd name="connsiteX241" fmla="*/ 3791851 w 4808490"/>
              <a:gd name="connsiteY241" fmla="*/ 2019817 h 4851901"/>
              <a:gd name="connsiteX242" fmla="*/ 3774248 w 4808490"/>
              <a:gd name="connsiteY242" fmla="*/ 1976846 h 4851901"/>
              <a:gd name="connsiteX243" fmla="*/ 4524006 w 4808490"/>
              <a:gd name="connsiteY243" fmla="*/ 1967940 h 4851901"/>
              <a:gd name="connsiteX244" fmla="*/ 4524772 w 4808490"/>
              <a:gd name="connsiteY244" fmla="*/ 1972425 h 4851901"/>
              <a:gd name="connsiteX245" fmla="*/ 4524006 w 4808490"/>
              <a:gd name="connsiteY245" fmla="*/ 1967940 h 4851901"/>
              <a:gd name="connsiteX246" fmla="*/ 3776703 w 4808490"/>
              <a:gd name="connsiteY246" fmla="*/ 1929329 h 4851901"/>
              <a:gd name="connsiteX247" fmla="*/ 3779535 w 4808490"/>
              <a:gd name="connsiteY247" fmla="*/ 1929843 h 4851901"/>
              <a:gd name="connsiteX248" fmla="*/ 3776900 w 4808490"/>
              <a:gd name="connsiteY248" fmla="*/ 1929366 h 4851901"/>
              <a:gd name="connsiteX249" fmla="*/ 3775317 w 4808490"/>
              <a:gd name="connsiteY249" fmla="*/ 1929077 h 4851901"/>
              <a:gd name="connsiteX250" fmla="*/ 3776703 w 4808490"/>
              <a:gd name="connsiteY250" fmla="*/ 1929329 h 4851901"/>
              <a:gd name="connsiteX251" fmla="*/ 3775385 w 4808490"/>
              <a:gd name="connsiteY251" fmla="*/ 1929090 h 4851901"/>
              <a:gd name="connsiteX252" fmla="*/ 3775317 w 4808490"/>
              <a:gd name="connsiteY252" fmla="*/ 1929077 h 4851901"/>
              <a:gd name="connsiteX253" fmla="*/ 4707797 w 4808490"/>
              <a:gd name="connsiteY253" fmla="*/ 1906037 h 4851901"/>
              <a:gd name="connsiteX254" fmla="*/ 4710744 w 4808490"/>
              <a:gd name="connsiteY254" fmla="*/ 1915605 h 4851901"/>
              <a:gd name="connsiteX255" fmla="*/ 4708926 w 4808490"/>
              <a:gd name="connsiteY255" fmla="*/ 1907827 h 4851901"/>
              <a:gd name="connsiteX256" fmla="*/ 3732208 w 4808490"/>
              <a:gd name="connsiteY256" fmla="*/ 1892880 h 4851901"/>
              <a:gd name="connsiteX257" fmla="*/ 3733844 w 4808490"/>
              <a:gd name="connsiteY257" fmla="*/ 1895951 h 4851901"/>
              <a:gd name="connsiteX258" fmla="*/ 3734544 w 4808490"/>
              <a:gd name="connsiteY258" fmla="*/ 1899723 h 4851901"/>
              <a:gd name="connsiteX259" fmla="*/ 3731308 w 4808490"/>
              <a:gd name="connsiteY259" fmla="*/ 1899033 h 4851901"/>
              <a:gd name="connsiteX260" fmla="*/ 3729356 w 4808490"/>
              <a:gd name="connsiteY260" fmla="*/ 1894352 h 4851901"/>
              <a:gd name="connsiteX261" fmla="*/ 3732208 w 4808490"/>
              <a:gd name="connsiteY261" fmla="*/ 1892880 h 4851901"/>
              <a:gd name="connsiteX262" fmla="*/ 3838051 w 4808490"/>
              <a:gd name="connsiteY262" fmla="*/ 1887579 h 4851901"/>
              <a:gd name="connsiteX263" fmla="*/ 3850006 w 4808490"/>
              <a:gd name="connsiteY263" fmla="*/ 1897684 h 4851901"/>
              <a:gd name="connsiteX264" fmla="*/ 3879783 w 4808490"/>
              <a:gd name="connsiteY264" fmla="*/ 1943647 h 4851901"/>
              <a:gd name="connsiteX265" fmla="*/ 3889780 w 4808490"/>
              <a:gd name="connsiteY265" fmla="*/ 1945462 h 4851901"/>
              <a:gd name="connsiteX266" fmla="*/ 3890013 w 4808490"/>
              <a:gd name="connsiteY266" fmla="*/ 1945812 h 4851901"/>
              <a:gd name="connsiteX267" fmla="*/ 3912472 w 4808490"/>
              <a:gd name="connsiteY267" fmla="*/ 2001486 h 4851901"/>
              <a:gd name="connsiteX268" fmla="*/ 3944524 w 4808490"/>
              <a:gd name="connsiteY268" fmla="*/ 2098694 h 4851901"/>
              <a:gd name="connsiteX269" fmla="*/ 3940091 w 4808490"/>
              <a:gd name="connsiteY269" fmla="*/ 2093694 h 4851901"/>
              <a:gd name="connsiteX270" fmla="*/ 3890869 w 4808490"/>
              <a:gd name="connsiteY270" fmla="*/ 1990624 h 4851901"/>
              <a:gd name="connsiteX271" fmla="*/ 3863240 w 4808490"/>
              <a:gd name="connsiteY271" fmla="*/ 1939323 h 4851901"/>
              <a:gd name="connsiteX272" fmla="*/ 3838051 w 4808490"/>
              <a:gd name="connsiteY272" fmla="*/ 1887579 h 4851901"/>
              <a:gd name="connsiteX273" fmla="*/ 3784450 w 4808490"/>
              <a:gd name="connsiteY273" fmla="*/ 1875115 h 4851901"/>
              <a:gd name="connsiteX274" fmla="*/ 3785640 w 4808490"/>
              <a:gd name="connsiteY274" fmla="*/ 1877553 h 4851901"/>
              <a:gd name="connsiteX275" fmla="*/ 3788702 w 4808490"/>
              <a:gd name="connsiteY275" fmla="*/ 1884892 h 4851901"/>
              <a:gd name="connsiteX276" fmla="*/ 4515332 w 4808490"/>
              <a:gd name="connsiteY276" fmla="*/ 1873120 h 4851901"/>
              <a:gd name="connsiteX277" fmla="*/ 4517842 w 4808490"/>
              <a:gd name="connsiteY277" fmla="*/ 1880781 h 4851901"/>
              <a:gd name="connsiteX278" fmla="*/ 4518751 w 4808490"/>
              <a:gd name="connsiteY278" fmla="*/ 1883945 h 4851901"/>
              <a:gd name="connsiteX279" fmla="*/ 4515106 w 4808490"/>
              <a:gd name="connsiteY279" fmla="*/ 1877075 h 4851901"/>
              <a:gd name="connsiteX280" fmla="*/ 3733783 w 4808490"/>
              <a:gd name="connsiteY280" fmla="*/ 1856917 h 4851901"/>
              <a:gd name="connsiteX281" fmla="*/ 3734228 w 4808490"/>
              <a:gd name="connsiteY281" fmla="*/ 1861005 h 4851901"/>
              <a:gd name="connsiteX282" fmla="*/ 3731327 w 4808490"/>
              <a:gd name="connsiteY282" fmla="*/ 1859295 h 4851901"/>
              <a:gd name="connsiteX283" fmla="*/ 3733783 w 4808490"/>
              <a:gd name="connsiteY283" fmla="*/ 1856917 h 4851901"/>
              <a:gd name="connsiteX284" fmla="*/ 3723205 w 4808490"/>
              <a:gd name="connsiteY284" fmla="*/ 1823687 h 4851901"/>
              <a:gd name="connsiteX285" fmla="*/ 3725765 w 4808490"/>
              <a:gd name="connsiteY285" fmla="*/ 1825710 h 4851901"/>
              <a:gd name="connsiteX286" fmla="*/ 3720172 w 4808490"/>
              <a:gd name="connsiteY286" fmla="*/ 1824893 h 4851901"/>
              <a:gd name="connsiteX287" fmla="*/ 3723205 w 4808490"/>
              <a:gd name="connsiteY287" fmla="*/ 1823687 h 4851901"/>
              <a:gd name="connsiteX288" fmla="*/ 4434671 w 4808490"/>
              <a:gd name="connsiteY288" fmla="*/ 1788269 h 4851901"/>
              <a:gd name="connsiteX289" fmla="*/ 4442045 w 4808490"/>
              <a:gd name="connsiteY289" fmla="*/ 1800411 h 4851901"/>
              <a:gd name="connsiteX290" fmla="*/ 4471989 w 4808490"/>
              <a:gd name="connsiteY290" fmla="*/ 1848517 h 4851901"/>
              <a:gd name="connsiteX291" fmla="*/ 4482422 w 4808490"/>
              <a:gd name="connsiteY291" fmla="*/ 1852883 h 4851901"/>
              <a:gd name="connsiteX292" fmla="*/ 4516526 w 4808490"/>
              <a:gd name="connsiteY292" fmla="*/ 1906269 h 4851901"/>
              <a:gd name="connsiteX293" fmla="*/ 4524963 w 4808490"/>
              <a:gd name="connsiteY293" fmla="*/ 1910519 h 4851901"/>
              <a:gd name="connsiteX294" fmla="*/ 4526408 w 4808490"/>
              <a:gd name="connsiteY294" fmla="*/ 1910606 h 4851901"/>
              <a:gd name="connsiteX295" fmla="*/ 4540899 w 4808490"/>
              <a:gd name="connsiteY295" fmla="*/ 1961055 h 4851901"/>
              <a:gd name="connsiteX296" fmla="*/ 4548193 w 4808490"/>
              <a:gd name="connsiteY296" fmla="*/ 1990877 h 4851901"/>
              <a:gd name="connsiteX297" fmla="*/ 4514420 w 4808490"/>
              <a:gd name="connsiteY297" fmla="*/ 1938320 h 4851901"/>
              <a:gd name="connsiteX298" fmla="*/ 4440491 w 4808490"/>
              <a:gd name="connsiteY298" fmla="*/ 1809439 h 4851901"/>
              <a:gd name="connsiteX299" fmla="*/ 4446546 w 4808490"/>
              <a:gd name="connsiteY299" fmla="*/ 1735424 h 4851901"/>
              <a:gd name="connsiteX300" fmla="*/ 4466545 w 4808490"/>
              <a:gd name="connsiteY300" fmla="*/ 1742067 h 4851901"/>
              <a:gd name="connsiteX301" fmla="*/ 4471353 w 4808490"/>
              <a:gd name="connsiteY301" fmla="*/ 1749468 h 4851901"/>
              <a:gd name="connsiteX302" fmla="*/ 4489407 w 4808490"/>
              <a:gd name="connsiteY302" fmla="*/ 1793998 h 4851901"/>
              <a:gd name="connsiteX303" fmla="*/ 4502214 w 4808490"/>
              <a:gd name="connsiteY303" fmla="*/ 1833087 h 4851901"/>
              <a:gd name="connsiteX304" fmla="*/ 4490825 w 4808490"/>
              <a:gd name="connsiteY304" fmla="*/ 1809573 h 4851901"/>
              <a:gd name="connsiteX305" fmla="*/ 4446546 w 4808490"/>
              <a:gd name="connsiteY305" fmla="*/ 1735424 h 4851901"/>
              <a:gd name="connsiteX306" fmla="*/ 3686035 w 4808490"/>
              <a:gd name="connsiteY306" fmla="*/ 1727147 h 4851901"/>
              <a:gd name="connsiteX307" fmla="*/ 3699447 w 4808490"/>
              <a:gd name="connsiteY307" fmla="*/ 1745949 h 4851901"/>
              <a:gd name="connsiteX308" fmla="*/ 3708338 w 4808490"/>
              <a:gd name="connsiteY308" fmla="*/ 1768319 h 4851901"/>
              <a:gd name="connsiteX309" fmla="*/ 3717944 w 4808490"/>
              <a:gd name="connsiteY309" fmla="*/ 1804057 h 4851901"/>
              <a:gd name="connsiteX310" fmla="*/ 3701988 w 4808490"/>
              <a:gd name="connsiteY310" fmla="*/ 1762906 h 4851901"/>
              <a:gd name="connsiteX311" fmla="*/ 3685789 w 4808490"/>
              <a:gd name="connsiteY311" fmla="*/ 1730410 h 4851901"/>
              <a:gd name="connsiteX312" fmla="*/ 3672078 w 4808490"/>
              <a:gd name="connsiteY312" fmla="*/ 1727041 h 4851901"/>
              <a:gd name="connsiteX313" fmla="*/ 3684474 w 4808490"/>
              <a:gd name="connsiteY313" fmla="*/ 1742581 h 4851901"/>
              <a:gd name="connsiteX314" fmla="*/ 3685492 w 4808490"/>
              <a:gd name="connsiteY314" fmla="*/ 1746871 h 4851901"/>
              <a:gd name="connsiteX315" fmla="*/ 3678512 w 4808490"/>
              <a:gd name="connsiteY315" fmla="*/ 1737135 h 4851901"/>
              <a:gd name="connsiteX316" fmla="*/ 3672078 w 4808490"/>
              <a:gd name="connsiteY316" fmla="*/ 1727041 h 4851901"/>
              <a:gd name="connsiteX317" fmla="*/ 4610267 w 4808490"/>
              <a:gd name="connsiteY317" fmla="*/ 1671921 h 4851901"/>
              <a:gd name="connsiteX318" fmla="*/ 4612029 w 4808490"/>
              <a:gd name="connsiteY318" fmla="*/ 1677050 h 4851901"/>
              <a:gd name="connsiteX319" fmla="*/ 4611963 w 4808490"/>
              <a:gd name="connsiteY319" fmla="*/ 1678218 h 4851901"/>
              <a:gd name="connsiteX320" fmla="*/ 4611794 w 4808490"/>
              <a:gd name="connsiteY320" fmla="*/ 1677612 h 4851901"/>
              <a:gd name="connsiteX321" fmla="*/ 1687626 w 4808490"/>
              <a:gd name="connsiteY321" fmla="*/ 1510537 h 4851901"/>
              <a:gd name="connsiteX322" fmla="*/ 1641219 w 4808490"/>
              <a:gd name="connsiteY322" fmla="*/ 1511778 h 4851901"/>
              <a:gd name="connsiteX323" fmla="*/ 1605141 w 4808490"/>
              <a:gd name="connsiteY323" fmla="*/ 1541809 h 4851901"/>
              <a:gd name="connsiteX324" fmla="*/ 1541289 w 4808490"/>
              <a:gd name="connsiteY324" fmla="*/ 1604438 h 4851901"/>
              <a:gd name="connsiteX325" fmla="*/ 1615251 w 4808490"/>
              <a:gd name="connsiteY325" fmla="*/ 1555644 h 4851901"/>
              <a:gd name="connsiteX326" fmla="*/ 1673691 w 4808490"/>
              <a:gd name="connsiteY326" fmla="*/ 1517983 h 4851901"/>
              <a:gd name="connsiteX327" fmla="*/ 2249832 w 4808490"/>
              <a:gd name="connsiteY327" fmla="*/ 1219899 h 4851901"/>
              <a:gd name="connsiteX328" fmla="*/ 2220342 w 4808490"/>
              <a:gd name="connsiteY328" fmla="*/ 1226536 h 4851901"/>
              <a:gd name="connsiteX329" fmla="*/ 2202701 w 4808490"/>
              <a:gd name="connsiteY329" fmla="*/ 1230938 h 4851901"/>
              <a:gd name="connsiteX330" fmla="*/ 2212333 w 4808490"/>
              <a:gd name="connsiteY330" fmla="*/ 1232613 h 4851901"/>
              <a:gd name="connsiteX331" fmla="*/ 2196758 w 4808490"/>
              <a:gd name="connsiteY331" fmla="*/ 1232421 h 4851901"/>
              <a:gd name="connsiteX332" fmla="*/ 2167588 w 4808490"/>
              <a:gd name="connsiteY332" fmla="*/ 1239700 h 4851901"/>
              <a:gd name="connsiteX333" fmla="*/ 2168824 w 4808490"/>
              <a:gd name="connsiteY333" fmla="*/ 1239727 h 4851901"/>
              <a:gd name="connsiteX334" fmla="*/ 2245471 w 4808490"/>
              <a:gd name="connsiteY334" fmla="*/ 1238376 h 4851901"/>
              <a:gd name="connsiteX335" fmla="*/ 2237637 w 4808490"/>
              <a:gd name="connsiteY335" fmla="*/ 1229884 h 4851901"/>
              <a:gd name="connsiteX336" fmla="*/ 2230540 w 4808490"/>
              <a:gd name="connsiteY336" fmla="*/ 1228228 h 4851901"/>
              <a:gd name="connsiteX337" fmla="*/ 2270516 w 4808490"/>
              <a:gd name="connsiteY337" fmla="*/ 1233253 h 4851901"/>
              <a:gd name="connsiteX338" fmla="*/ 2262460 w 4808490"/>
              <a:gd name="connsiteY338" fmla="*/ 1222711 h 4851901"/>
              <a:gd name="connsiteX339" fmla="*/ 2264884 w 4808490"/>
              <a:gd name="connsiteY339" fmla="*/ 1216443 h 4851901"/>
              <a:gd name="connsiteX340" fmla="*/ 2256618 w 4808490"/>
              <a:gd name="connsiteY340" fmla="*/ 1218349 h 4851901"/>
              <a:gd name="connsiteX341" fmla="*/ 2266988 w 4808490"/>
              <a:gd name="connsiteY341" fmla="*/ 1219802 h 4851901"/>
              <a:gd name="connsiteX342" fmla="*/ 2268068 w 4808490"/>
              <a:gd name="connsiteY342" fmla="*/ 1219590 h 4851901"/>
              <a:gd name="connsiteX343" fmla="*/ 2265658 w 4808490"/>
              <a:gd name="connsiteY343" fmla="*/ 1217093 h 4851901"/>
              <a:gd name="connsiteX344" fmla="*/ 2073575 w 4808490"/>
              <a:gd name="connsiteY344" fmla="*/ 1110299 h 4851901"/>
              <a:gd name="connsiteX345" fmla="*/ 2083803 w 4808490"/>
              <a:gd name="connsiteY345" fmla="*/ 1118532 h 4851901"/>
              <a:gd name="connsiteX346" fmla="*/ 2107412 w 4808490"/>
              <a:gd name="connsiteY346" fmla="*/ 1121188 h 4851901"/>
              <a:gd name="connsiteX347" fmla="*/ 2149868 w 4808490"/>
              <a:gd name="connsiteY347" fmla="*/ 1114343 h 4851901"/>
              <a:gd name="connsiteX348" fmla="*/ 2149592 w 4808490"/>
              <a:gd name="connsiteY348" fmla="*/ 1114333 h 4851901"/>
              <a:gd name="connsiteX349" fmla="*/ 2103841 w 4808490"/>
              <a:gd name="connsiteY349" fmla="*/ 1111876 h 4851901"/>
              <a:gd name="connsiteX350" fmla="*/ 2101667 w 4808490"/>
              <a:gd name="connsiteY350" fmla="*/ 1114185 h 4851901"/>
              <a:gd name="connsiteX351" fmla="*/ 2073575 w 4808490"/>
              <a:gd name="connsiteY351" fmla="*/ 1110299 h 4851901"/>
              <a:gd name="connsiteX352" fmla="*/ 2103541 w 4808490"/>
              <a:gd name="connsiteY352" fmla="*/ 1090642 h 4851901"/>
              <a:gd name="connsiteX353" fmla="*/ 2056647 w 4808490"/>
              <a:gd name="connsiteY353" fmla="*/ 1102197 h 4851901"/>
              <a:gd name="connsiteX354" fmla="*/ 2103102 w 4808490"/>
              <a:gd name="connsiteY354" fmla="*/ 1105039 h 4851901"/>
              <a:gd name="connsiteX355" fmla="*/ 2107890 w 4808490"/>
              <a:gd name="connsiteY355" fmla="*/ 1104522 h 4851901"/>
              <a:gd name="connsiteX356" fmla="*/ 2121787 w 4808490"/>
              <a:gd name="connsiteY356" fmla="*/ 1105099 h 4851901"/>
              <a:gd name="connsiteX357" fmla="*/ 2124441 w 4808490"/>
              <a:gd name="connsiteY357" fmla="*/ 1107233 h 4851901"/>
              <a:gd name="connsiteX358" fmla="*/ 2128885 w 4808490"/>
              <a:gd name="connsiteY358" fmla="*/ 1106753 h 4851901"/>
              <a:gd name="connsiteX359" fmla="*/ 2178434 w 4808490"/>
              <a:gd name="connsiteY359" fmla="*/ 1110745 h 4851901"/>
              <a:gd name="connsiteX360" fmla="*/ 2194985 w 4808490"/>
              <a:gd name="connsiteY360" fmla="*/ 1113457 h 4851901"/>
              <a:gd name="connsiteX361" fmla="*/ 2173094 w 4808490"/>
              <a:gd name="connsiteY361" fmla="*/ 1115348 h 4851901"/>
              <a:gd name="connsiteX362" fmla="*/ 2166851 w 4808490"/>
              <a:gd name="connsiteY362" fmla="*/ 1115078 h 4851901"/>
              <a:gd name="connsiteX363" fmla="*/ 2168285 w 4808490"/>
              <a:gd name="connsiteY363" fmla="*/ 1115803 h 4851901"/>
              <a:gd name="connsiteX364" fmla="*/ 2166472 w 4808490"/>
              <a:gd name="connsiteY364" fmla="*/ 1122808 h 4851901"/>
              <a:gd name="connsiteX365" fmla="*/ 2164479 w 4808490"/>
              <a:gd name="connsiteY365" fmla="*/ 1126777 h 4851901"/>
              <a:gd name="connsiteX366" fmla="*/ 2194228 w 4808490"/>
              <a:gd name="connsiteY366" fmla="*/ 1129479 h 4851901"/>
              <a:gd name="connsiteX367" fmla="*/ 2222643 w 4808490"/>
              <a:gd name="connsiteY367" fmla="*/ 1126909 h 4851901"/>
              <a:gd name="connsiteX368" fmla="*/ 2207522 w 4808490"/>
              <a:gd name="connsiteY368" fmla="*/ 1123860 h 4851901"/>
              <a:gd name="connsiteX369" fmla="*/ 2225728 w 4808490"/>
              <a:gd name="connsiteY369" fmla="*/ 1119477 h 4851901"/>
              <a:gd name="connsiteX370" fmla="*/ 2215279 w 4808490"/>
              <a:gd name="connsiteY370" fmla="*/ 1109193 h 4851901"/>
              <a:gd name="connsiteX371" fmla="*/ 2177181 w 4808490"/>
              <a:gd name="connsiteY371" fmla="*/ 1099125 h 4851901"/>
              <a:gd name="connsiteX372" fmla="*/ 2114842 w 4808490"/>
              <a:gd name="connsiteY372" fmla="*/ 1092016 h 4851901"/>
              <a:gd name="connsiteX373" fmla="*/ 2131665 w 4808490"/>
              <a:gd name="connsiteY373" fmla="*/ 1083712 h 4851901"/>
              <a:gd name="connsiteX374" fmla="*/ 2105153 w 4808490"/>
              <a:gd name="connsiteY374" fmla="*/ 1090244 h 4851901"/>
              <a:gd name="connsiteX375" fmla="*/ 2181626 w 4808490"/>
              <a:gd name="connsiteY375" fmla="*/ 1098645 h 4851901"/>
              <a:gd name="connsiteX376" fmla="*/ 2309471 w 4808490"/>
              <a:gd name="connsiteY376" fmla="*/ 1119781 h 4851901"/>
              <a:gd name="connsiteX377" fmla="*/ 2299243 w 4808490"/>
              <a:gd name="connsiteY377" fmla="*/ 1111549 h 4851901"/>
              <a:gd name="connsiteX378" fmla="*/ 2159293 w 4808490"/>
              <a:gd name="connsiteY378" fmla="*/ 1087222 h 4851901"/>
              <a:gd name="connsiteX379" fmla="*/ 2294851 w 4808490"/>
              <a:gd name="connsiteY379" fmla="*/ 1025919 h 4851901"/>
              <a:gd name="connsiteX380" fmla="*/ 2292457 w 4808490"/>
              <a:gd name="connsiteY380" fmla="*/ 1026178 h 4851901"/>
              <a:gd name="connsiteX381" fmla="*/ 2292379 w 4808490"/>
              <a:gd name="connsiteY381" fmla="*/ 1026133 h 4851901"/>
              <a:gd name="connsiteX382" fmla="*/ 2189911 w 4808490"/>
              <a:gd name="connsiteY382" fmla="*/ 1010809 h 4851901"/>
              <a:gd name="connsiteX383" fmla="*/ 2195355 w 4808490"/>
              <a:gd name="connsiteY383" fmla="*/ 1011060 h 4851901"/>
              <a:gd name="connsiteX384" fmla="*/ 2196765 w 4808490"/>
              <a:gd name="connsiteY384" fmla="*/ 1011836 h 4851901"/>
              <a:gd name="connsiteX385" fmla="*/ 2209374 w 4808490"/>
              <a:gd name="connsiteY385" fmla="*/ 1009548 h 4851901"/>
              <a:gd name="connsiteX386" fmla="*/ 2287791 w 4808490"/>
              <a:gd name="connsiteY386" fmla="*/ 1024605 h 4851901"/>
              <a:gd name="connsiteX387" fmla="*/ 2290893 w 4808490"/>
              <a:gd name="connsiteY387" fmla="*/ 1025308 h 4851901"/>
              <a:gd name="connsiteX388" fmla="*/ 2292379 w 4808490"/>
              <a:gd name="connsiteY388" fmla="*/ 1026133 h 4851901"/>
              <a:gd name="connsiteX389" fmla="*/ 2282470 w 4808490"/>
              <a:gd name="connsiteY389" fmla="*/ 1026995 h 4851901"/>
              <a:gd name="connsiteX390" fmla="*/ 2271720 w 4808490"/>
              <a:gd name="connsiteY390" fmla="*/ 1026339 h 4851901"/>
              <a:gd name="connsiteX391" fmla="*/ 2202710 w 4808490"/>
              <a:gd name="connsiteY391" fmla="*/ 1015108 h 4851901"/>
              <a:gd name="connsiteX392" fmla="*/ 2196765 w 4808490"/>
              <a:gd name="connsiteY392" fmla="*/ 1011836 h 4851901"/>
              <a:gd name="connsiteX393" fmla="*/ 2211941 w 4808490"/>
              <a:gd name="connsiteY393" fmla="*/ 1014114 h 4851901"/>
              <a:gd name="connsiteX394" fmla="*/ 2209374 w 4808490"/>
              <a:gd name="connsiteY394" fmla="*/ 1009548 h 4851901"/>
              <a:gd name="connsiteX395" fmla="*/ 2674298 w 4808490"/>
              <a:gd name="connsiteY395" fmla="*/ 640928 h 4851901"/>
              <a:gd name="connsiteX396" fmla="*/ 2675625 w 4808490"/>
              <a:gd name="connsiteY396" fmla="*/ 641263 h 4851901"/>
              <a:gd name="connsiteX397" fmla="*/ 2658229 w 4808490"/>
              <a:gd name="connsiteY397" fmla="*/ 642661 h 4851901"/>
              <a:gd name="connsiteX398" fmla="*/ 2674298 w 4808490"/>
              <a:gd name="connsiteY398" fmla="*/ 640928 h 4851901"/>
              <a:gd name="connsiteX399" fmla="*/ 2667528 w 4808490"/>
              <a:gd name="connsiteY399" fmla="*/ 597395 h 4851901"/>
              <a:gd name="connsiteX400" fmla="*/ 2547337 w 4808490"/>
              <a:gd name="connsiteY400" fmla="*/ 605518 h 4851901"/>
              <a:gd name="connsiteX401" fmla="*/ 2607690 w 4808490"/>
              <a:gd name="connsiteY401" fmla="*/ 603850 h 4851901"/>
              <a:gd name="connsiteX402" fmla="*/ 2667528 w 4808490"/>
              <a:gd name="connsiteY402" fmla="*/ 597395 h 4851901"/>
              <a:gd name="connsiteX403" fmla="*/ 2755201 w 4808490"/>
              <a:gd name="connsiteY403" fmla="*/ 592435 h 4851901"/>
              <a:gd name="connsiteX404" fmla="*/ 2743916 w 4808490"/>
              <a:gd name="connsiteY404" fmla="*/ 593652 h 4851901"/>
              <a:gd name="connsiteX405" fmla="*/ 2743221 w 4808490"/>
              <a:gd name="connsiteY405" fmla="*/ 593569 h 4851901"/>
              <a:gd name="connsiteX406" fmla="*/ 2938089 w 4808490"/>
              <a:gd name="connsiteY406" fmla="*/ 540205 h 4851901"/>
              <a:gd name="connsiteX407" fmla="*/ 2857255 w 4808490"/>
              <a:gd name="connsiteY407" fmla="*/ 544428 h 4851901"/>
              <a:gd name="connsiteX408" fmla="*/ 2854753 w 4808490"/>
              <a:gd name="connsiteY408" fmla="*/ 546190 h 4851901"/>
              <a:gd name="connsiteX409" fmla="*/ 2878988 w 4808490"/>
              <a:gd name="connsiteY409" fmla="*/ 553496 h 4851901"/>
              <a:gd name="connsiteX410" fmla="*/ 2911728 w 4808490"/>
              <a:gd name="connsiteY410" fmla="*/ 552385 h 4851901"/>
              <a:gd name="connsiteX411" fmla="*/ 2913780 w 4808490"/>
              <a:gd name="connsiteY411" fmla="*/ 552163 h 4851901"/>
              <a:gd name="connsiteX412" fmla="*/ 2913523 w 4808490"/>
              <a:gd name="connsiteY412" fmla="*/ 549771 h 4851901"/>
              <a:gd name="connsiteX413" fmla="*/ 2945442 w 4808490"/>
              <a:gd name="connsiteY413" fmla="*/ 544252 h 4851901"/>
              <a:gd name="connsiteX414" fmla="*/ 2938089 w 4808490"/>
              <a:gd name="connsiteY414" fmla="*/ 540205 h 4851901"/>
              <a:gd name="connsiteX415" fmla="*/ 3009955 w 4808490"/>
              <a:gd name="connsiteY415" fmla="*/ 513782 h 4851901"/>
              <a:gd name="connsiteX416" fmla="*/ 3124797 w 4808490"/>
              <a:gd name="connsiteY416" fmla="*/ 514145 h 4851901"/>
              <a:gd name="connsiteX417" fmla="*/ 3120393 w 4808490"/>
              <a:gd name="connsiteY417" fmla="*/ 516655 h 4851901"/>
              <a:gd name="connsiteX418" fmla="*/ 2905793 w 4808490"/>
              <a:gd name="connsiteY418" fmla="*/ 497353 h 4851901"/>
              <a:gd name="connsiteX419" fmla="*/ 2915164 w 4808490"/>
              <a:gd name="connsiteY419" fmla="*/ 500837 h 4851901"/>
              <a:gd name="connsiteX420" fmla="*/ 2880371 w 4808490"/>
              <a:gd name="connsiteY420" fmla="*/ 502169 h 4851901"/>
              <a:gd name="connsiteX421" fmla="*/ 2945991 w 4808490"/>
              <a:gd name="connsiteY421" fmla="*/ 504427 h 4851901"/>
              <a:gd name="connsiteX422" fmla="*/ 2839990 w 4808490"/>
              <a:gd name="connsiteY422" fmla="*/ 515861 h 4851901"/>
              <a:gd name="connsiteX423" fmla="*/ 2845036 w 4808490"/>
              <a:gd name="connsiteY423" fmla="*/ 517737 h 4851901"/>
              <a:gd name="connsiteX424" fmla="*/ 2915102 w 4808490"/>
              <a:gd name="connsiteY424" fmla="*/ 519516 h 4851901"/>
              <a:gd name="connsiteX425" fmla="*/ 2997370 w 4808490"/>
              <a:gd name="connsiteY425" fmla="*/ 506147 h 4851901"/>
              <a:gd name="connsiteX426" fmla="*/ 2975518 w 4808490"/>
              <a:gd name="connsiteY426" fmla="*/ 499168 h 4851901"/>
              <a:gd name="connsiteX427" fmla="*/ 2905793 w 4808490"/>
              <a:gd name="connsiteY427" fmla="*/ 497353 h 4851901"/>
              <a:gd name="connsiteX428" fmla="*/ 3114540 w 4808490"/>
              <a:gd name="connsiteY428" fmla="*/ 469996 h 4851901"/>
              <a:gd name="connsiteX429" fmla="*/ 3105308 w 4808490"/>
              <a:gd name="connsiteY429" fmla="*/ 470992 h 4851901"/>
              <a:gd name="connsiteX430" fmla="*/ 3102307 w 4808490"/>
              <a:gd name="connsiteY430" fmla="*/ 472828 h 4851901"/>
              <a:gd name="connsiteX431" fmla="*/ 3108218 w 4808490"/>
              <a:gd name="connsiteY431" fmla="*/ 475519 h 4851901"/>
              <a:gd name="connsiteX432" fmla="*/ 3124510 w 4808490"/>
              <a:gd name="connsiteY432" fmla="*/ 475837 h 4851901"/>
              <a:gd name="connsiteX433" fmla="*/ 3114540 w 4808490"/>
              <a:gd name="connsiteY433" fmla="*/ 469996 h 4851901"/>
              <a:gd name="connsiteX434" fmla="*/ 3287571 w 4808490"/>
              <a:gd name="connsiteY434" fmla="*/ 307138 h 4851901"/>
              <a:gd name="connsiteX435" fmla="*/ 3283127 w 4808490"/>
              <a:gd name="connsiteY435" fmla="*/ 307616 h 4851901"/>
              <a:gd name="connsiteX436" fmla="*/ 3282161 w 4808490"/>
              <a:gd name="connsiteY436" fmla="*/ 307588 h 4851901"/>
              <a:gd name="connsiteX437" fmla="*/ 3480767 w 4808490"/>
              <a:gd name="connsiteY437" fmla="*/ 239527 h 4851901"/>
              <a:gd name="connsiteX438" fmla="*/ 3483003 w 4808490"/>
              <a:gd name="connsiteY438" fmla="*/ 239722 h 4851901"/>
              <a:gd name="connsiteX439" fmla="*/ 3480610 w 4808490"/>
              <a:gd name="connsiteY439" fmla="*/ 239981 h 4851901"/>
              <a:gd name="connsiteX440" fmla="*/ 3214982 w 4808490"/>
              <a:gd name="connsiteY440" fmla="*/ 194556 h 4851901"/>
              <a:gd name="connsiteX441" fmla="*/ 3231204 w 4808490"/>
              <a:gd name="connsiteY441" fmla="*/ 195295 h 4851901"/>
              <a:gd name="connsiteX442" fmla="*/ 3221927 w 4808490"/>
              <a:gd name="connsiteY442" fmla="*/ 195609 h 4851901"/>
              <a:gd name="connsiteX443" fmla="*/ 3217760 w 4808490"/>
              <a:gd name="connsiteY443" fmla="*/ 195270 h 4851901"/>
              <a:gd name="connsiteX444" fmla="*/ 3254667 w 4808490"/>
              <a:gd name="connsiteY444" fmla="*/ 194499 h 4851901"/>
              <a:gd name="connsiteX445" fmla="*/ 3327267 w 4808490"/>
              <a:gd name="connsiteY445" fmla="*/ 200502 h 4851901"/>
              <a:gd name="connsiteX446" fmla="*/ 3353047 w 4808490"/>
              <a:gd name="connsiteY446" fmla="*/ 202215 h 4851901"/>
              <a:gd name="connsiteX447" fmla="*/ 3355218 w 4808490"/>
              <a:gd name="connsiteY447" fmla="*/ 199905 h 4851901"/>
              <a:gd name="connsiteX448" fmla="*/ 3422891 w 4808490"/>
              <a:gd name="connsiteY448" fmla="*/ 201944 h 4851901"/>
              <a:gd name="connsiteX449" fmla="*/ 3425285 w 4808490"/>
              <a:gd name="connsiteY449" fmla="*/ 201686 h 4851901"/>
              <a:gd name="connsiteX450" fmla="*/ 3417672 w 4808490"/>
              <a:gd name="connsiteY450" fmla="*/ 195245 h 4851901"/>
              <a:gd name="connsiteX451" fmla="*/ 3496887 w 4808490"/>
              <a:gd name="connsiteY451" fmla="*/ 198458 h 4851901"/>
              <a:gd name="connsiteX452" fmla="*/ 3499022 w 4808490"/>
              <a:gd name="connsiteY452" fmla="*/ 195808 h 4851901"/>
              <a:gd name="connsiteX453" fmla="*/ 3560113 w 4808490"/>
              <a:gd name="connsiteY453" fmla="*/ 200974 h 4851901"/>
              <a:gd name="connsiteX454" fmla="*/ 3546436 w 4808490"/>
              <a:gd name="connsiteY454" fmla="*/ 202451 h 4851901"/>
              <a:gd name="connsiteX455" fmla="*/ 3563502 w 4808490"/>
              <a:gd name="connsiteY455" fmla="*/ 209946 h 4851901"/>
              <a:gd name="connsiteX456" fmla="*/ 3660603 w 4808490"/>
              <a:gd name="connsiteY456" fmla="*/ 225063 h 4851901"/>
              <a:gd name="connsiteX457" fmla="*/ 3541725 w 4808490"/>
              <a:gd name="connsiteY457" fmla="*/ 226127 h 4851901"/>
              <a:gd name="connsiteX458" fmla="*/ 3482545 w 4808490"/>
              <a:gd name="connsiteY458" fmla="*/ 234406 h 4851901"/>
              <a:gd name="connsiteX459" fmla="*/ 3480767 w 4808490"/>
              <a:gd name="connsiteY459" fmla="*/ 239527 h 4851901"/>
              <a:gd name="connsiteX460" fmla="*/ 3382739 w 4808490"/>
              <a:gd name="connsiteY460" fmla="*/ 230956 h 4851901"/>
              <a:gd name="connsiteX461" fmla="*/ 3274205 w 4808490"/>
              <a:gd name="connsiteY461" fmla="*/ 224898 h 4851901"/>
              <a:gd name="connsiteX462" fmla="*/ 3315577 w 4808490"/>
              <a:gd name="connsiteY462" fmla="*/ 220435 h 4851901"/>
              <a:gd name="connsiteX463" fmla="*/ 3291415 w 4808490"/>
              <a:gd name="connsiteY463" fmla="*/ 211283 h 4851901"/>
              <a:gd name="connsiteX464" fmla="*/ 3204543 w 4808490"/>
              <a:gd name="connsiteY464" fmla="*/ 204402 h 4851901"/>
              <a:gd name="connsiteX465" fmla="*/ 2929323 w 4808490"/>
              <a:gd name="connsiteY465" fmla="*/ 199159 h 4851901"/>
              <a:gd name="connsiteX466" fmla="*/ 3215825 w 4808490"/>
              <a:gd name="connsiteY466" fmla="*/ 203185 h 4851901"/>
              <a:gd name="connsiteX467" fmla="*/ 3503922 w 4808490"/>
              <a:gd name="connsiteY467" fmla="*/ 218793 h 4851901"/>
              <a:gd name="connsiteX468" fmla="*/ 3479760 w 4808490"/>
              <a:gd name="connsiteY468" fmla="*/ 209642 h 4851901"/>
              <a:gd name="connsiteX469" fmla="*/ 3322820 w 4808490"/>
              <a:gd name="connsiteY469" fmla="*/ 200981 h 4851901"/>
              <a:gd name="connsiteX470" fmla="*/ 3243356 w 4808490"/>
              <a:gd name="connsiteY470" fmla="*/ 195849 h 4851901"/>
              <a:gd name="connsiteX471" fmla="*/ 3231204 w 4808490"/>
              <a:gd name="connsiteY471" fmla="*/ 195295 h 4851901"/>
              <a:gd name="connsiteX472" fmla="*/ 3240855 w 4808490"/>
              <a:gd name="connsiteY472" fmla="*/ 194967 h 4851901"/>
              <a:gd name="connsiteX473" fmla="*/ 3254667 w 4808490"/>
              <a:gd name="connsiteY473" fmla="*/ 194499 h 4851901"/>
              <a:gd name="connsiteX474" fmla="*/ 3092367 w 4808490"/>
              <a:gd name="connsiteY474" fmla="*/ 190967 h 4851901"/>
              <a:gd name="connsiteX475" fmla="*/ 3105278 w 4808490"/>
              <a:gd name="connsiteY475" fmla="*/ 191205 h 4851901"/>
              <a:gd name="connsiteX476" fmla="*/ 3103253 w 4808490"/>
              <a:gd name="connsiteY476" fmla="*/ 192157 h 4851901"/>
              <a:gd name="connsiteX477" fmla="*/ 3094889 w 4808490"/>
              <a:gd name="connsiteY477" fmla="*/ 191589 h 4851901"/>
              <a:gd name="connsiteX478" fmla="*/ 3086360 w 4808490"/>
              <a:gd name="connsiteY478" fmla="*/ 189484 h 4851901"/>
              <a:gd name="connsiteX479" fmla="*/ 3092367 w 4808490"/>
              <a:gd name="connsiteY479" fmla="*/ 190967 h 4851901"/>
              <a:gd name="connsiteX480" fmla="*/ 3038572 w 4808490"/>
              <a:gd name="connsiteY480" fmla="*/ 189979 h 4851901"/>
              <a:gd name="connsiteX481" fmla="*/ 3007008 w 4808490"/>
              <a:gd name="connsiteY481" fmla="*/ 189398 h 4851901"/>
              <a:gd name="connsiteX482" fmla="*/ 3038572 w 4808490"/>
              <a:gd name="connsiteY482" fmla="*/ 189979 h 4851901"/>
              <a:gd name="connsiteX483" fmla="*/ 3034057 w 4808490"/>
              <a:gd name="connsiteY483" fmla="*/ 190024 h 4851901"/>
              <a:gd name="connsiteX484" fmla="*/ 3002646 w 4808490"/>
              <a:gd name="connsiteY484" fmla="*/ 189409 h 4851901"/>
              <a:gd name="connsiteX485" fmla="*/ 3118722 w 4808490"/>
              <a:gd name="connsiteY485" fmla="*/ 188068 h 4851901"/>
              <a:gd name="connsiteX486" fmla="*/ 3153774 w 4808490"/>
              <a:gd name="connsiteY486" fmla="*/ 189129 h 4851901"/>
              <a:gd name="connsiteX487" fmla="*/ 3203068 w 4808490"/>
              <a:gd name="connsiteY487" fmla="*/ 190728 h 4851901"/>
              <a:gd name="connsiteX488" fmla="*/ 3212579 w 4808490"/>
              <a:gd name="connsiteY488" fmla="*/ 193938 h 4851901"/>
              <a:gd name="connsiteX489" fmla="*/ 3214982 w 4808490"/>
              <a:gd name="connsiteY489" fmla="*/ 194556 h 4851901"/>
              <a:gd name="connsiteX490" fmla="*/ 3165879 w 4808490"/>
              <a:gd name="connsiteY490" fmla="*/ 192319 h 4851901"/>
              <a:gd name="connsiteX491" fmla="*/ 3105278 w 4808490"/>
              <a:gd name="connsiteY491" fmla="*/ 191205 h 4851901"/>
              <a:gd name="connsiteX492" fmla="*/ 3109096 w 4808490"/>
              <a:gd name="connsiteY492" fmla="*/ 189408 h 4851901"/>
              <a:gd name="connsiteX493" fmla="*/ 3118722 w 4808490"/>
              <a:gd name="connsiteY493" fmla="*/ 188068 h 4851901"/>
              <a:gd name="connsiteX494" fmla="*/ 2079140 w 4808490"/>
              <a:gd name="connsiteY494" fmla="*/ 127420 h 4851901"/>
              <a:gd name="connsiteX495" fmla="*/ 2037086 w 4808490"/>
              <a:gd name="connsiteY495" fmla="*/ 134261 h 4851901"/>
              <a:gd name="connsiteX496" fmla="*/ 1868522 w 4808490"/>
              <a:gd name="connsiteY496" fmla="*/ 173348 h 4851901"/>
              <a:gd name="connsiteX497" fmla="*/ 1532481 w 4808490"/>
              <a:gd name="connsiteY497" fmla="*/ 291268 h 4851901"/>
              <a:gd name="connsiteX498" fmla="*/ 1222395 w 4808490"/>
              <a:gd name="connsiteY498" fmla="*/ 452775 h 4851901"/>
              <a:gd name="connsiteX499" fmla="*/ 964625 w 4808490"/>
              <a:gd name="connsiteY499" fmla="*/ 641177 h 4851901"/>
              <a:gd name="connsiteX500" fmla="*/ 505719 w 4808490"/>
              <a:gd name="connsiteY500" fmla="*/ 1161499 h 4851901"/>
              <a:gd name="connsiteX501" fmla="*/ 397457 w 4808490"/>
              <a:gd name="connsiteY501" fmla="*/ 1349110 h 4851901"/>
              <a:gd name="connsiteX502" fmla="*/ 166481 w 4808490"/>
              <a:gd name="connsiteY502" fmla="*/ 2098020 h 4851901"/>
              <a:gd name="connsiteX503" fmla="*/ 218179 w 4808490"/>
              <a:gd name="connsiteY503" fmla="*/ 1952841 h 4851901"/>
              <a:gd name="connsiteX504" fmla="*/ 278259 w 4808490"/>
              <a:gd name="connsiteY504" fmla="*/ 1801875 h 4851901"/>
              <a:gd name="connsiteX505" fmla="*/ 319980 w 4808490"/>
              <a:gd name="connsiteY505" fmla="*/ 1669957 h 4851901"/>
              <a:gd name="connsiteX506" fmla="*/ 380819 w 4808490"/>
              <a:gd name="connsiteY506" fmla="*/ 1507593 h 4851901"/>
              <a:gd name="connsiteX507" fmla="*/ 623656 w 4808490"/>
              <a:gd name="connsiteY507" fmla="*/ 1087248 h 4851901"/>
              <a:gd name="connsiteX508" fmla="*/ 955791 w 4808490"/>
              <a:gd name="connsiteY508" fmla="*/ 725649 h 4851901"/>
              <a:gd name="connsiteX509" fmla="*/ 1225683 w 4808490"/>
              <a:gd name="connsiteY509" fmla="*/ 524380 h 4851901"/>
              <a:gd name="connsiteX510" fmla="*/ 1528184 w 4808490"/>
              <a:gd name="connsiteY510" fmla="*/ 370358 h 4851901"/>
              <a:gd name="connsiteX511" fmla="*/ 1637739 w 4808490"/>
              <a:gd name="connsiteY511" fmla="*/ 330749 h 4851901"/>
              <a:gd name="connsiteX512" fmla="*/ 1787569 w 4808490"/>
              <a:gd name="connsiteY512" fmla="*/ 288092 h 4851901"/>
              <a:gd name="connsiteX513" fmla="*/ 1966416 w 4808490"/>
              <a:gd name="connsiteY513" fmla="*/ 266284 h 4851901"/>
              <a:gd name="connsiteX514" fmla="*/ 1874287 w 4808490"/>
              <a:gd name="connsiteY514" fmla="*/ 297992 h 4851901"/>
              <a:gd name="connsiteX515" fmla="*/ 1752020 w 4808490"/>
              <a:gd name="connsiteY515" fmla="*/ 340376 h 4851901"/>
              <a:gd name="connsiteX516" fmla="*/ 1963565 w 4808490"/>
              <a:gd name="connsiteY516" fmla="*/ 280628 h 4851901"/>
              <a:gd name="connsiteX517" fmla="*/ 1975692 w 4808490"/>
              <a:gd name="connsiteY517" fmla="*/ 278038 h 4851901"/>
              <a:gd name="connsiteX518" fmla="*/ 3451313 w 4808490"/>
              <a:gd name="connsiteY518" fmla="*/ 126239 h 4851901"/>
              <a:gd name="connsiteX519" fmla="*/ 3454166 w 4808490"/>
              <a:gd name="connsiteY519" fmla="*/ 126300 h 4851901"/>
              <a:gd name="connsiteX520" fmla="*/ 3452116 w 4808490"/>
              <a:gd name="connsiteY520" fmla="*/ 126521 h 4851901"/>
              <a:gd name="connsiteX521" fmla="*/ 3231727 w 4808490"/>
              <a:gd name="connsiteY521" fmla="*/ 113291 h 4851901"/>
              <a:gd name="connsiteX522" fmla="*/ 3237219 w 4808490"/>
              <a:gd name="connsiteY522" fmla="*/ 113907 h 4851901"/>
              <a:gd name="connsiteX523" fmla="*/ 3229302 w 4808490"/>
              <a:gd name="connsiteY523" fmla="*/ 113355 h 4851901"/>
              <a:gd name="connsiteX524" fmla="*/ 3266482 w 4808490"/>
              <a:gd name="connsiteY524" fmla="*/ 111616 h 4851901"/>
              <a:gd name="connsiteX525" fmla="*/ 3440009 w 4808490"/>
              <a:gd name="connsiteY525" fmla="*/ 123331 h 4851901"/>
              <a:gd name="connsiteX526" fmla="*/ 3446946 w 4808490"/>
              <a:gd name="connsiteY526" fmla="*/ 124701 h 4851901"/>
              <a:gd name="connsiteX527" fmla="*/ 3451313 w 4808490"/>
              <a:gd name="connsiteY527" fmla="*/ 126239 h 4851901"/>
              <a:gd name="connsiteX528" fmla="*/ 3429725 w 4808490"/>
              <a:gd name="connsiteY528" fmla="*/ 125781 h 4851901"/>
              <a:gd name="connsiteX529" fmla="*/ 3405474 w 4808490"/>
              <a:gd name="connsiteY529" fmla="*/ 127057 h 4851901"/>
              <a:gd name="connsiteX530" fmla="*/ 3253321 w 4808490"/>
              <a:gd name="connsiteY530" fmla="*/ 117878 h 4851901"/>
              <a:gd name="connsiteX531" fmla="*/ 3243326 w 4808490"/>
              <a:gd name="connsiteY531" fmla="*/ 114591 h 4851901"/>
              <a:gd name="connsiteX532" fmla="*/ 3237219 w 4808490"/>
              <a:gd name="connsiteY532" fmla="*/ 113907 h 4851901"/>
              <a:gd name="connsiteX533" fmla="*/ 3269391 w 4808490"/>
              <a:gd name="connsiteY533" fmla="*/ 116145 h 4851901"/>
              <a:gd name="connsiteX534" fmla="*/ 3266482 w 4808490"/>
              <a:gd name="connsiteY534" fmla="*/ 111616 h 4851901"/>
              <a:gd name="connsiteX535" fmla="*/ 2467949 w 4808490"/>
              <a:gd name="connsiteY535" fmla="*/ 87599 h 4851901"/>
              <a:gd name="connsiteX536" fmla="*/ 2426350 w 4808490"/>
              <a:gd name="connsiteY536" fmla="*/ 89858 h 4851901"/>
              <a:gd name="connsiteX537" fmla="*/ 2252443 w 4808490"/>
              <a:gd name="connsiteY537" fmla="*/ 101671 h 4851901"/>
              <a:gd name="connsiteX538" fmla="*/ 2238541 w 4808490"/>
              <a:gd name="connsiteY538" fmla="*/ 103303 h 4851901"/>
              <a:gd name="connsiteX539" fmla="*/ 2264969 w 4808490"/>
              <a:gd name="connsiteY539" fmla="*/ 101029 h 4851901"/>
              <a:gd name="connsiteX540" fmla="*/ 2460912 w 4808490"/>
              <a:gd name="connsiteY540" fmla="*/ 88065 h 4851901"/>
              <a:gd name="connsiteX541" fmla="*/ 2296827 w 4808490"/>
              <a:gd name="connsiteY541" fmla="*/ 0 h 4851901"/>
              <a:gd name="connsiteX542" fmla="*/ 2336058 w 4808490"/>
              <a:gd name="connsiteY542" fmla="*/ 17173 h 4851901"/>
              <a:gd name="connsiteX543" fmla="*/ 2182295 w 4808490"/>
              <a:gd name="connsiteY543" fmla="*/ 38919 h 4851901"/>
              <a:gd name="connsiteX544" fmla="*/ 1951706 w 4808490"/>
              <a:gd name="connsiteY544" fmla="*/ 80312 h 4851901"/>
              <a:gd name="connsiteX545" fmla="*/ 1760636 w 4808490"/>
              <a:gd name="connsiteY545" fmla="*/ 130056 h 4851901"/>
              <a:gd name="connsiteX546" fmla="*/ 2106750 w 4808490"/>
              <a:gd name="connsiteY546" fmla="*/ 63683 h 4851901"/>
              <a:gd name="connsiteX547" fmla="*/ 2416853 w 4808490"/>
              <a:gd name="connsiteY547" fmla="*/ 58163 h 4851901"/>
              <a:gd name="connsiteX548" fmla="*/ 2563933 w 4808490"/>
              <a:gd name="connsiteY548" fmla="*/ 78905 h 4851901"/>
              <a:gd name="connsiteX549" fmla="*/ 2549684 w 4808490"/>
              <a:gd name="connsiteY549" fmla="*/ 82100 h 4851901"/>
              <a:gd name="connsiteX550" fmla="*/ 2532461 w 4808490"/>
              <a:gd name="connsiteY550" fmla="*/ 83574 h 4851901"/>
              <a:gd name="connsiteX551" fmla="*/ 2545609 w 4808490"/>
              <a:gd name="connsiteY551" fmla="*/ 82777 h 4851901"/>
              <a:gd name="connsiteX552" fmla="*/ 2602479 w 4808490"/>
              <a:gd name="connsiteY552" fmla="*/ 80880 h 4851901"/>
              <a:gd name="connsiteX553" fmla="*/ 2713662 w 4808490"/>
              <a:gd name="connsiteY553" fmla="*/ 75803 h 4851901"/>
              <a:gd name="connsiteX554" fmla="*/ 2938592 w 4808490"/>
              <a:gd name="connsiteY554" fmla="*/ 70217 h 4851901"/>
              <a:gd name="connsiteX555" fmla="*/ 2957794 w 4808490"/>
              <a:gd name="connsiteY555" fmla="*/ 75061 h 4851901"/>
              <a:gd name="connsiteX556" fmla="*/ 2911154 w 4808490"/>
              <a:gd name="connsiteY556" fmla="*/ 75596 h 4851901"/>
              <a:gd name="connsiteX557" fmla="*/ 2795009 w 4808490"/>
              <a:gd name="connsiteY557" fmla="*/ 76366 h 4851901"/>
              <a:gd name="connsiteX558" fmla="*/ 2776325 w 4808490"/>
              <a:gd name="connsiteY558" fmla="*/ 76307 h 4851901"/>
              <a:gd name="connsiteX559" fmla="*/ 2771879 w 4808490"/>
              <a:gd name="connsiteY559" fmla="*/ 76786 h 4851901"/>
              <a:gd name="connsiteX560" fmla="*/ 2521305 w 4808490"/>
              <a:gd name="connsiteY560" fmla="*/ 85140 h 4851901"/>
              <a:gd name="connsiteX561" fmla="*/ 2545551 w 4808490"/>
              <a:gd name="connsiteY561" fmla="*/ 91860 h 4851901"/>
              <a:gd name="connsiteX562" fmla="*/ 2814471 w 4808490"/>
              <a:gd name="connsiteY562" fmla="*/ 83605 h 4851901"/>
              <a:gd name="connsiteX563" fmla="*/ 2935879 w 4808490"/>
              <a:gd name="connsiteY563" fmla="*/ 86762 h 4851901"/>
              <a:gd name="connsiteX564" fmla="*/ 3059599 w 4808490"/>
              <a:gd name="connsiteY564" fmla="*/ 92091 h 4851901"/>
              <a:gd name="connsiteX565" fmla="*/ 2876042 w 4808490"/>
              <a:gd name="connsiteY565" fmla="*/ 93216 h 4851901"/>
              <a:gd name="connsiteX566" fmla="*/ 2900205 w 4808490"/>
              <a:gd name="connsiteY566" fmla="*/ 102366 h 4851901"/>
              <a:gd name="connsiteX567" fmla="*/ 3158097 w 4808490"/>
              <a:gd name="connsiteY567" fmla="*/ 97719 h 4851901"/>
              <a:gd name="connsiteX568" fmla="*/ 3152833 w 4808490"/>
              <a:gd name="connsiteY568" fmla="*/ 93792 h 4851901"/>
              <a:gd name="connsiteX569" fmla="*/ 3211273 w 4808490"/>
              <a:gd name="connsiteY569" fmla="*/ 96825 h 4851901"/>
              <a:gd name="connsiteX570" fmla="*/ 3181265 w 4808490"/>
              <a:gd name="connsiteY570" fmla="*/ 97642 h 4851901"/>
              <a:gd name="connsiteX571" fmla="*/ 3191235 w 4808490"/>
              <a:gd name="connsiteY571" fmla="*/ 103481 h 4851901"/>
              <a:gd name="connsiteX572" fmla="*/ 2928639 w 4808490"/>
              <a:gd name="connsiteY572" fmla="*/ 106215 h 4851901"/>
              <a:gd name="connsiteX573" fmla="*/ 2952801 w 4808490"/>
              <a:gd name="connsiteY573" fmla="*/ 115366 h 4851901"/>
              <a:gd name="connsiteX574" fmla="*/ 2969093 w 4808490"/>
              <a:gd name="connsiteY574" fmla="*/ 115684 h 4851901"/>
              <a:gd name="connsiteX575" fmla="*/ 3119771 w 4808490"/>
              <a:gd name="connsiteY575" fmla="*/ 111189 h 4851901"/>
              <a:gd name="connsiteX576" fmla="*/ 3195331 w 4808490"/>
              <a:gd name="connsiteY576" fmla="*/ 110992 h 4851901"/>
              <a:gd name="connsiteX577" fmla="*/ 3229302 w 4808490"/>
              <a:gd name="connsiteY577" fmla="*/ 113355 h 4851901"/>
              <a:gd name="connsiteX578" fmla="*/ 3002010 w 4808490"/>
              <a:gd name="connsiteY578" fmla="*/ 119395 h 4851901"/>
              <a:gd name="connsiteX579" fmla="*/ 2888260 w 4808490"/>
              <a:gd name="connsiteY579" fmla="*/ 119906 h 4851901"/>
              <a:gd name="connsiteX580" fmla="*/ 2774427 w 4808490"/>
              <a:gd name="connsiteY580" fmla="*/ 122849 h 4851901"/>
              <a:gd name="connsiteX581" fmla="*/ 2798330 w 4808490"/>
              <a:gd name="connsiteY581" fmla="*/ 129607 h 4851901"/>
              <a:gd name="connsiteX582" fmla="*/ 2888996 w 4808490"/>
              <a:gd name="connsiteY582" fmla="*/ 126743 h 4851901"/>
              <a:gd name="connsiteX583" fmla="*/ 2979580 w 4808490"/>
              <a:gd name="connsiteY583" fmla="*/ 126310 h 4851901"/>
              <a:gd name="connsiteX584" fmla="*/ 3160825 w 4808490"/>
              <a:gd name="connsiteY584" fmla="*/ 123014 h 4851901"/>
              <a:gd name="connsiteX585" fmla="*/ 3175020 w 4808490"/>
              <a:gd name="connsiteY585" fmla="*/ 126323 h 4851901"/>
              <a:gd name="connsiteX586" fmla="*/ 3226364 w 4808490"/>
              <a:gd name="connsiteY586" fmla="*/ 127702 h 4851901"/>
              <a:gd name="connsiteX587" fmla="*/ 3280358 w 4808490"/>
              <a:gd name="connsiteY587" fmla="*/ 131214 h 4851901"/>
              <a:gd name="connsiteX588" fmla="*/ 3283010 w 4808490"/>
              <a:gd name="connsiteY588" fmla="*/ 133348 h 4851901"/>
              <a:gd name="connsiteX589" fmla="*/ 3182337 w 4808490"/>
              <a:gd name="connsiteY589" fmla="*/ 130029 h 4851901"/>
              <a:gd name="connsiteX590" fmla="*/ 3175499 w 4808490"/>
              <a:gd name="connsiteY590" fmla="*/ 130767 h 4851901"/>
              <a:gd name="connsiteX591" fmla="*/ 3146806 w 4808490"/>
              <a:gd name="connsiteY591" fmla="*/ 124526 h 4851901"/>
              <a:gd name="connsiteX592" fmla="*/ 3154726 w 4808490"/>
              <a:gd name="connsiteY592" fmla="*/ 130588 h 4851901"/>
              <a:gd name="connsiteX593" fmla="*/ 3181282 w 4808490"/>
              <a:gd name="connsiteY593" fmla="*/ 139479 h 4851901"/>
              <a:gd name="connsiteX594" fmla="*/ 3222914 w 4808490"/>
              <a:gd name="connsiteY594" fmla="*/ 137410 h 4851901"/>
              <a:gd name="connsiteX595" fmla="*/ 3265025 w 4808490"/>
              <a:gd name="connsiteY595" fmla="*/ 139785 h 4851901"/>
              <a:gd name="connsiteX596" fmla="*/ 3349026 w 4808490"/>
              <a:gd name="connsiteY596" fmla="*/ 142481 h 4851901"/>
              <a:gd name="connsiteX597" fmla="*/ 3346374 w 4808490"/>
              <a:gd name="connsiteY597" fmla="*/ 140347 h 4851901"/>
              <a:gd name="connsiteX598" fmla="*/ 3351162 w 4808490"/>
              <a:gd name="connsiteY598" fmla="*/ 139830 h 4851901"/>
              <a:gd name="connsiteX599" fmla="*/ 3375322 w 4808490"/>
              <a:gd name="connsiteY599" fmla="*/ 148981 h 4851901"/>
              <a:gd name="connsiteX600" fmla="*/ 3433763 w 4808490"/>
              <a:gd name="connsiteY600" fmla="*/ 152014 h 4851901"/>
              <a:gd name="connsiteX601" fmla="*/ 3433506 w 4808490"/>
              <a:gd name="connsiteY601" fmla="*/ 149621 h 4851901"/>
              <a:gd name="connsiteX602" fmla="*/ 3555135 w 4808490"/>
              <a:gd name="connsiteY602" fmla="*/ 154829 h 4851901"/>
              <a:gd name="connsiteX603" fmla="*/ 3461939 w 4808490"/>
              <a:gd name="connsiteY603" fmla="*/ 153470 h 4851901"/>
              <a:gd name="connsiteX604" fmla="*/ 3462197 w 4808490"/>
              <a:gd name="connsiteY604" fmla="*/ 155863 h 4851901"/>
              <a:gd name="connsiteX605" fmla="*/ 3254136 w 4808490"/>
              <a:gd name="connsiteY605" fmla="*/ 147874 h 4851901"/>
              <a:gd name="connsiteX606" fmla="*/ 3047105 w 4808490"/>
              <a:gd name="connsiteY606" fmla="*/ 149456 h 4851901"/>
              <a:gd name="connsiteX607" fmla="*/ 3062119 w 4808490"/>
              <a:gd name="connsiteY607" fmla="*/ 157172 h 4851901"/>
              <a:gd name="connsiteX608" fmla="*/ 2929824 w 4808490"/>
              <a:gd name="connsiteY608" fmla="*/ 162105 h 4851901"/>
              <a:gd name="connsiteX609" fmla="*/ 2949284 w 4808490"/>
              <a:gd name="connsiteY609" fmla="*/ 169343 h 4851901"/>
              <a:gd name="connsiteX610" fmla="*/ 3022223 w 4808490"/>
              <a:gd name="connsiteY610" fmla="*/ 175308 h 4851901"/>
              <a:gd name="connsiteX611" fmla="*/ 2957339 w 4808490"/>
              <a:gd name="connsiteY611" fmla="*/ 179886 h 4851901"/>
              <a:gd name="connsiteX612" fmla="*/ 2981844 w 4808490"/>
              <a:gd name="connsiteY612" fmla="*/ 189000 h 4851901"/>
              <a:gd name="connsiteX613" fmla="*/ 3002646 w 4808490"/>
              <a:gd name="connsiteY613" fmla="*/ 189409 h 4851901"/>
              <a:gd name="connsiteX614" fmla="*/ 2926989 w 4808490"/>
              <a:gd name="connsiteY614" fmla="*/ 189589 h 4851901"/>
              <a:gd name="connsiteX615" fmla="*/ 2846895 w 4808490"/>
              <a:gd name="connsiteY615" fmla="*/ 191798 h 4851901"/>
              <a:gd name="connsiteX616" fmla="*/ 2866354 w 4808490"/>
              <a:gd name="connsiteY616" fmla="*/ 199035 h 4851901"/>
              <a:gd name="connsiteX617" fmla="*/ 2953229 w 4808490"/>
              <a:gd name="connsiteY617" fmla="*/ 205918 h 4851901"/>
              <a:gd name="connsiteX618" fmla="*/ 2874530 w 4808490"/>
              <a:gd name="connsiteY618" fmla="*/ 207491 h 4851901"/>
              <a:gd name="connsiteX619" fmla="*/ 2795749 w 4808490"/>
              <a:gd name="connsiteY619" fmla="*/ 211491 h 4851901"/>
              <a:gd name="connsiteX620" fmla="*/ 2817261 w 4808490"/>
              <a:gd name="connsiteY620" fmla="*/ 218508 h 4851901"/>
              <a:gd name="connsiteX621" fmla="*/ 2819653 w 4808490"/>
              <a:gd name="connsiteY621" fmla="*/ 218250 h 4851901"/>
              <a:gd name="connsiteX622" fmla="*/ 2931313 w 4808490"/>
              <a:gd name="connsiteY622" fmla="*/ 217618 h 4851901"/>
              <a:gd name="connsiteX623" fmla="*/ 3042754 w 4808490"/>
              <a:gd name="connsiteY623" fmla="*/ 214936 h 4851901"/>
              <a:gd name="connsiteX624" fmla="*/ 3051985 w 4808490"/>
              <a:gd name="connsiteY624" fmla="*/ 213939 h 4851901"/>
              <a:gd name="connsiteX625" fmla="*/ 3082214 w 4808490"/>
              <a:gd name="connsiteY625" fmla="*/ 215174 h 4851901"/>
              <a:gd name="connsiteX626" fmla="*/ 3091445 w 4808490"/>
              <a:gd name="connsiteY626" fmla="*/ 214178 h 4851901"/>
              <a:gd name="connsiteX627" fmla="*/ 3100936 w 4808490"/>
              <a:gd name="connsiteY627" fmla="*/ 215575 h 4851901"/>
              <a:gd name="connsiteX628" fmla="*/ 3212375 w 4808490"/>
              <a:gd name="connsiteY628" fmla="*/ 212893 h 4851901"/>
              <a:gd name="connsiteX629" fmla="*/ 3250041 w 4808490"/>
              <a:gd name="connsiteY629" fmla="*/ 215747 h 4851901"/>
              <a:gd name="connsiteX630" fmla="*/ 3041097 w 4808490"/>
              <a:gd name="connsiteY630" fmla="*/ 222030 h 4851901"/>
              <a:gd name="connsiteX631" fmla="*/ 3041356 w 4808490"/>
              <a:gd name="connsiteY631" fmla="*/ 224422 h 4851901"/>
              <a:gd name="connsiteX632" fmla="*/ 2978729 w 4808490"/>
              <a:gd name="connsiteY632" fmla="*/ 224260 h 4851901"/>
              <a:gd name="connsiteX633" fmla="*/ 3000239 w 4808490"/>
              <a:gd name="connsiteY633" fmla="*/ 231277 h 4851901"/>
              <a:gd name="connsiteX634" fmla="*/ 3095830 w 4808490"/>
              <a:gd name="connsiteY634" fmla="*/ 232378 h 4851901"/>
              <a:gd name="connsiteX635" fmla="*/ 3098224 w 4808490"/>
              <a:gd name="connsiteY635" fmla="*/ 232120 h 4851901"/>
              <a:gd name="connsiteX636" fmla="*/ 3181708 w 4808490"/>
              <a:gd name="connsiteY636" fmla="*/ 230032 h 4851901"/>
              <a:gd name="connsiteX637" fmla="*/ 3223598 w 4808490"/>
              <a:gd name="connsiteY637" fmla="*/ 230355 h 4851901"/>
              <a:gd name="connsiteX638" fmla="*/ 3265710 w 4808490"/>
              <a:gd name="connsiteY638" fmla="*/ 232729 h 4851901"/>
              <a:gd name="connsiteX639" fmla="*/ 3431799 w 4808490"/>
              <a:gd name="connsiteY639" fmla="*/ 242824 h 4851901"/>
              <a:gd name="connsiteX640" fmla="*/ 3357286 w 4808490"/>
              <a:gd name="connsiteY640" fmla="*/ 241525 h 4851901"/>
              <a:gd name="connsiteX641" fmla="*/ 3357765 w 4808490"/>
              <a:gd name="connsiteY641" fmla="*/ 245969 h 4851901"/>
              <a:gd name="connsiteX642" fmla="*/ 3290093 w 4808490"/>
              <a:gd name="connsiteY642" fmla="*/ 243931 h 4851901"/>
              <a:gd name="connsiteX643" fmla="*/ 3226905 w 4808490"/>
              <a:gd name="connsiteY643" fmla="*/ 241756 h 4851901"/>
              <a:gd name="connsiteX644" fmla="*/ 3166892 w 4808490"/>
              <a:gd name="connsiteY644" fmla="*/ 243387 h 4851901"/>
              <a:gd name="connsiteX645" fmla="*/ 3041432 w 4808490"/>
              <a:gd name="connsiteY645" fmla="*/ 247582 h 4851901"/>
              <a:gd name="connsiteX646" fmla="*/ 3053796 w 4808490"/>
              <a:gd name="connsiteY646" fmla="*/ 253165 h 4851901"/>
              <a:gd name="connsiteX647" fmla="*/ 2974276 w 4808490"/>
              <a:gd name="connsiteY647" fmla="*/ 250331 h 4851901"/>
              <a:gd name="connsiteX648" fmla="*/ 2986639 w 4808490"/>
              <a:gd name="connsiteY648" fmla="*/ 255913 h 4851901"/>
              <a:gd name="connsiteX649" fmla="*/ 2993736 w 4808490"/>
              <a:gd name="connsiteY649" fmla="*/ 257568 h 4851901"/>
              <a:gd name="connsiteX650" fmla="*/ 3017642 w 4808490"/>
              <a:gd name="connsiteY650" fmla="*/ 264325 h 4851901"/>
              <a:gd name="connsiteX651" fmla="*/ 3313460 w 4808490"/>
              <a:gd name="connsiteY651" fmla="*/ 264924 h 4851901"/>
              <a:gd name="connsiteX652" fmla="*/ 3318161 w 4808490"/>
              <a:gd name="connsiteY652" fmla="*/ 266837 h 4851901"/>
              <a:gd name="connsiteX653" fmla="*/ 3294994 w 4808490"/>
              <a:gd name="connsiteY653" fmla="*/ 266915 h 4851901"/>
              <a:gd name="connsiteX654" fmla="*/ 3273878 w 4808490"/>
              <a:gd name="connsiteY654" fmla="*/ 266773 h 4851901"/>
              <a:gd name="connsiteX655" fmla="*/ 3281796 w 4808490"/>
              <a:gd name="connsiteY655" fmla="*/ 272835 h 4851901"/>
              <a:gd name="connsiteX656" fmla="*/ 3223273 w 4808490"/>
              <a:gd name="connsiteY656" fmla="*/ 272231 h 4851901"/>
              <a:gd name="connsiteX657" fmla="*/ 3165091 w 4808490"/>
              <a:gd name="connsiteY657" fmla="*/ 271591 h 4851901"/>
              <a:gd name="connsiteX658" fmla="*/ 3184550 w 4808490"/>
              <a:gd name="connsiteY658" fmla="*/ 278827 h 4851901"/>
              <a:gd name="connsiteX659" fmla="*/ 3296949 w 4808490"/>
              <a:gd name="connsiteY659" fmla="*/ 285032 h 4851901"/>
              <a:gd name="connsiteX660" fmla="*/ 3406510 w 4808490"/>
              <a:gd name="connsiteY660" fmla="*/ 287393 h 4851901"/>
              <a:gd name="connsiteX661" fmla="*/ 3425969 w 4808490"/>
              <a:gd name="connsiteY661" fmla="*/ 294630 h 4851901"/>
              <a:gd name="connsiteX662" fmla="*/ 3381687 w 4808490"/>
              <a:gd name="connsiteY662" fmla="*/ 294565 h 4851901"/>
              <a:gd name="connsiteX663" fmla="*/ 3130152 w 4808490"/>
              <a:gd name="connsiteY663" fmla="*/ 294032 h 4851901"/>
              <a:gd name="connsiteX664" fmla="*/ 3133024 w 4808490"/>
              <a:gd name="connsiteY664" fmla="*/ 298217 h 4851901"/>
              <a:gd name="connsiteX665" fmla="*/ 3093566 w 4808490"/>
              <a:gd name="connsiteY665" fmla="*/ 297978 h 4851901"/>
              <a:gd name="connsiteX666" fmla="*/ 3079630 w 4808490"/>
              <a:gd name="connsiteY666" fmla="*/ 297060 h 4851901"/>
              <a:gd name="connsiteX667" fmla="*/ 3187499 w 4808490"/>
              <a:gd name="connsiteY667" fmla="*/ 306173 h 4851901"/>
              <a:gd name="connsiteX668" fmla="*/ 3234461 w 4808490"/>
              <a:gd name="connsiteY668" fmla="*/ 306209 h 4851901"/>
              <a:gd name="connsiteX669" fmla="*/ 3282161 w 4808490"/>
              <a:gd name="connsiteY669" fmla="*/ 307588 h 4851901"/>
              <a:gd name="connsiteX670" fmla="*/ 3275185 w 4808490"/>
              <a:gd name="connsiteY670" fmla="*/ 308170 h 4851901"/>
              <a:gd name="connsiteX671" fmla="*/ 3264405 w 4808490"/>
              <a:gd name="connsiteY671" fmla="*/ 307216 h 4851901"/>
              <a:gd name="connsiteX672" fmla="*/ 3277024 w 4808490"/>
              <a:gd name="connsiteY672" fmla="*/ 315190 h 4851901"/>
              <a:gd name="connsiteX673" fmla="*/ 3305118 w 4808490"/>
              <a:gd name="connsiteY673" fmla="*/ 319077 h 4851901"/>
              <a:gd name="connsiteX674" fmla="*/ 3221152 w 4808490"/>
              <a:gd name="connsiteY674" fmla="*/ 316722 h 4851901"/>
              <a:gd name="connsiteX675" fmla="*/ 3135274 w 4808490"/>
              <a:gd name="connsiteY675" fmla="*/ 319069 h 4851901"/>
              <a:gd name="connsiteX676" fmla="*/ 3157348 w 4808490"/>
              <a:gd name="connsiteY676" fmla="*/ 328098 h 4851901"/>
              <a:gd name="connsiteX677" fmla="*/ 3232118 w 4808490"/>
              <a:gd name="connsiteY677" fmla="*/ 331790 h 4851901"/>
              <a:gd name="connsiteX678" fmla="*/ 3306887 w 4808490"/>
              <a:gd name="connsiteY678" fmla="*/ 335484 h 4851901"/>
              <a:gd name="connsiteX679" fmla="*/ 3223143 w 4808490"/>
              <a:gd name="connsiteY679" fmla="*/ 335179 h 4851901"/>
              <a:gd name="connsiteX680" fmla="*/ 3218699 w 4808490"/>
              <a:gd name="connsiteY680" fmla="*/ 335659 h 4851901"/>
              <a:gd name="connsiteX681" fmla="*/ 3181512 w 4808490"/>
              <a:gd name="connsiteY681" fmla="*/ 337249 h 4851901"/>
              <a:gd name="connsiteX682" fmla="*/ 3144325 w 4808490"/>
              <a:gd name="connsiteY682" fmla="*/ 338839 h 4851901"/>
              <a:gd name="connsiteX683" fmla="*/ 3168571 w 4808490"/>
              <a:gd name="connsiteY683" fmla="*/ 345560 h 4851901"/>
              <a:gd name="connsiteX684" fmla="*/ 3207810 w 4808490"/>
              <a:gd name="connsiteY684" fmla="*/ 343749 h 4851901"/>
              <a:gd name="connsiteX685" fmla="*/ 3384012 w 4808490"/>
              <a:gd name="connsiteY685" fmla="*/ 338576 h 4851901"/>
              <a:gd name="connsiteX686" fmla="*/ 3362500 w 4808490"/>
              <a:gd name="connsiteY686" fmla="*/ 331561 h 4851901"/>
              <a:gd name="connsiteX687" fmla="*/ 3343557 w 4808490"/>
              <a:gd name="connsiteY687" fmla="*/ 329108 h 4851901"/>
              <a:gd name="connsiteX688" fmla="*/ 3437011 w 4808490"/>
              <a:gd name="connsiteY688" fmla="*/ 332861 h 4851901"/>
              <a:gd name="connsiteX689" fmla="*/ 3415279 w 4808490"/>
              <a:gd name="connsiteY689" fmla="*/ 323793 h 4851901"/>
              <a:gd name="connsiteX690" fmla="*/ 3318915 w 4808490"/>
              <a:gd name="connsiteY690" fmla="*/ 315514 h 4851901"/>
              <a:gd name="connsiteX691" fmla="*/ 3424254 w 4808490"/>
              <a:gd name="connsiteY691" fmla="*/ 320405 h 4851901"/>
              <a:gd name="connsiteX692" fmla="*/ 3406846 w 4808490"/>
              <a:gd name="connsiteY692" fmla="*/ 312945 h 4851901"/>
              <a:gd name="connsiteX693" fmla="*/ 3388207 w 4808490"/>
              <a:gd name="connsiteY693" fmla="*/ 310114 h 4851901"/>
              <a:gd name="connsiteX694" fmla="*/ 3404535 w 4808490"/>
              <a:gd name="connsiteY694" fmla="*/ 310774 h 4851901"/>
              <a:gd name="connsiteX695" fmla="*/ 3394566 w 4808490"/>
              <a:gd name="connsiteY695" fmla="*/ 304933 h 4851901"/>
              <a:gd name="connsiteX696" fmla="*/ 3403798 w 4808490"/>
              <a:gd name="connsiteY696" fmla="*/ 303937 h 4851901"/>
              <a:gd name="connsiteX697" fmla="*/ 3476174 w 4808490"/>
              <a:gd name="connsiteY697" fmla="*/ 307889 h 4851901"/>
              <a:gd name="connsiteX698" fmla="*/ 3498248 w 4808490"/>
              <a:gd name="connsiteY698" fmla="*/ 316919 h 4851901"/>
              <a:gd name="connsiteX699" fmla="*/ 3593075 w 4808490"/>
              <a:gd name="connsiteY699" fmla="*/ 323376 h 4851901"/>
              <a:gd name="connsiteX700" fmla="*/ 3639886 w 4808490"/>
              <a:gd name="connsiteY700" fmla="*/ 327291 h 4851901"/>
              <a:gd name="connsiteX701" fmla="*/ 3638117 w 4808490"/>
              <a:gd name="connsiteY701" fmla="*/ 328586 h 4851901"/>
              <a:gd name="connsiteX702" fmla="*/ 3632759 w 4808490"/>
              <a:gd name="connsiteY702" fmla="*/ 331205 h 4851901"/>
              <a:gd name="connsiteX703" fmla="*/ 3552897 w 4808490"/>
              <a:gd name="connsiteY703" fmla="*/ 329698 h 4851901"/>
              <a:gd name="connsiteX704" fmla="*/ 3427779 w 4808490"/>
              <a:gd name="connsiteY704" fmla="*/ 333857 h 4851901"/>
              <a:gd name="connsiteX705" fmla="*/ 3445104 w 4808490"/>
              <a:gd name="connsiteY705" fmla="*/ 343745 h 4851901"/>
              <a:gd name="connsiteX706" fmla="*/ 3464047 w 4808490"/>
              <a:gd name="connsiteY706" fmla="*/ 346197 h 4851901"/>
              <a:gd name="connsiteX707" fmla="*/ 3445842 w 4808490"/>
              <a:gd name="connsiteY707" fmla="*/ 350581 h 4851901"/>
              <a:gd name="connsiteX708" fmla="*/ 3434557 w 4808490"/>
              <a:gd name="connsiteY708" fmla="*/ 351797 h 4851901"/>
              <a:gd name="connsiteX709" fmla="*/ 3209026 w 4808490"/>
              <a:gd name="connsiteY709" fmla="*/ 355029 h 4851901"/>
              <a:gd name="connsiteX710" fmla="*/ 3230880 w 4808490"/>
              <a:gd name="connsiteY710" fmla="*/ 362008 h 4851901"/>
              <a:gd name="connsiteX711" fmla="*/ 3322457 w 4808490"/>
              <a:gd name="connsiteY711" fmla="*/ 370804 h 4851901"/>
              <a:gd name="connsiteX712" fmla="*/ 3318270 w 4808490"/>
              <a:gd name="connsiteY712" fmla="*/ 373677 h 4851901"/>
              <a:gd name="connsiteX713" fmla="*/ 3190759 w 4808490"/>
              <a:gd name="connsiteY713" fmla="*/ 378093 h 4851901"/>
              <a:gd name="connsiteX714" fmla="*/ 3212270 w 4808490"/>
              <a:gd name="connsiteY714" fmla="*/ 385110 h 4851901"/>
              <a:gd name="connsiteX715" fmla="*/ 3277772 w 4808490"/>
              <a:gd name="connsiteY715" fmla="*/ 389456 h 4851901"/>
              <a:gd name="connsiteX716" fmla="*/ 3250932 w 4808490"/>
              <a:gd name="connsiteY716" fmla="*/ 397192 h 4851901"/>
              <a:gd name="connsiteX717" fmla="*/ 3234604 w 4808490"/>
              <a:gd name="connsiteY717" fmla="*/ 396533 h 4851901"/>
              <a:gd name="connsiteX718" fmla="*/ 3212750 w 4808490"/>
              <a:gd name="connsiteY718" fmla="*/ 389553 h 4851901"/>
              <a:gd name="connsiteX719" fmla="*/ 3078661 w 4808490"/>
              <a:gd name="connsiteY719" fmla="*/ 397100 h 4851901"/>
              <a:gd name="connsiteX720" fmla="*/ 3093332 w 4808490"/>
              <a:gd name="connsiteY720" fmla="*/ 404853 h 4851901"/>
              <a:gd name="connsiteX721" fmla="*/ 3085553 w 4808490"/>
              <a:gd name="connsiteY721" fmla="*/ 405692 h 4851901"/>
              <a:gd name="connsiteX722" fmla="*/ 3084100 w 4808490"/>
              <a:gd name="connsiteY722" fmla="*/ 405849 h 4851901"/>
              <a:gd name="connsiteX723" fmla="*/ 3082307 w 4808490"/>
              <a:gd name="connsiteY723" fmla="*/ 408463 h 4851901"/>
              <a:gd name="connsiteX724" fmla="*/ 2961377 w 4808490"/>
              <a:gd name="connsiteY724" fmla="*/ 409749 h 4851901"/>
              <a:gd name="connsiteX725" fmla="*/ 2973397 w 4808490"/>
              <a:gd name="connsiteY725" fmla="*/ 415369 h 4851901"/>
              <a:gd name="connsiteX726" fmla="*/ 3053691 w 4808490"/>
              <a:gd name="connsiteY726" fmla="*/ 425381 h 4851901"/>
              <a:gd name="connsiteX727" fmla="*/ 2921256 w 4808490"/>
              <a:gd name="connsiteY727" fmla="*/ 425833 h 4851901"/>
              <a:gd name="connsiteX728" fmla="*/ 2942768 w 4808490"/>
              <a:gd name="connsiteY728" fmla="*/ 432851 h 4851901"/>
              <a:gd name="connsiteX729" fmla="*/ 3171909 w 4808490"/>
              <a:gd name="connsiteY729" fmla="*/ 440641 h 4851901"/>
              <a:gd name="connsiteX730" fmla="*/ 3191026 w 4808490"/>
              <a:gd name="connsiteY730" fmla="*/ 447915 h 4851901"/>
              <a:gd name="connsiteX731" fmla="*/ 3054027 w 4808490"/>
              <a:gd name="connsiteY731" fmla="*/ 450933 h 4851901"/>
              <a:gd name="connsiteX732" fmla="*/ 3084375 w 4808490"/>
              <a:gd name="connsiteY732" fmla="*/ 450081 h 4851901"/>
              <a:gd name="connsiteX733" fmla="*/ 3017696 w 4808490"/>
              <a:gd name="connsiteY733" fmla="*/ 457272 h 4851901"/>
              <a:gd name="connsiteX734" fmla="*/ 3041602 w 4808490"/>
              <a:gd name="connsiteY734" fmla="*/ 464032 h 4851901"/>
              <a:gd name="connsiteX735" fmla="*/ 3055537 w 4808490"/>
              <a:gd name="connsiteY735" fmla="*/ 464949 h 4851901"/>
              <a:gd name="connsiteX736" fmla="*/ 3037415 w 4808490"/>
              <a:gd name="connsiteY736" fmla="*/ 466904 h 4851901"/>
              <a:gd name="connsiteX737" fmla="*/ 3146682 w 4808490"/>
              <a:gd name="connsiteY737" fmla="*/ 466529 h 4851901"/>
              <a:gd name="connsiteX738" fmla="*/ 3125824 w 4808490"/>
              <a:gd name="connsiteY738" fmla="*/ 468779 h 4851901"/>
              <a:gd name="connsiteX739" fmla="*/ 3262825 w 4808490"/>
              <a:gd name="connsiteY739" fmla="*/ 465760 h 4851901"/>
              <a:gd name="connsiteX740" fmla="*/ 3265218 w 4808490"/>
              <a:gd name="connsiteY740" fmla="*/ 465501 h 4851901"/>
              <a:gd name="connsiteX741" fmla="*/ 3268726 w 4808490"/>
              <a:gd name="connsiteY741" fmla="*/ 466855 h 4851901"/>
              <a:gd name="connsiteX742" fmla="*/ 3264627 w 4808490"/>
              <a:gd name="connsiteY742" fmla="*/ 471041 h 4851901"/>
              <a:gd name="connsiteX743" fmla="*/ 3239594 w 4808490"/>
              <a:gd name="connsiteY743" fmla="*/ 473976 h 4851901"/>
              <a:gd name="connsiteX744" fmla="*/ 3225993 w 4808490"/>
              <a:gd name="connsiteY744" fmla="*/ 482106 h 4851901"/>
              <a:gd name="connsiteX745" fmla="*/ 3213945 w 4808490"/>
              <a:gd name="connsiteY745" fmla="*/ 486815 h 4851901"/>
              <a:gd name="connsiteX746" fmla="*/ 3206854 w 4808490"/>
              <a:gd name="connsiteY746" fmla="*/ 485628 h 4851901"/>
              <a:gd name="connsiteX747" fmla="*/ 3167394 w 4808490"/>
              <a:gd name="connsiteY747" fmla="*/ 485389 h 4851901"/>
              <a:gd name="connsiteX748" fmla="*/ 3165000 w 4808490"/>
              <a:gd name="connsiteY748" fmla="*/ 485647 h 4851901"/>
              <a:gd name="connsiteX749" fmla="*/ 3086700 w 4808490"/>
              <a:gd name="connsiteY749" fmla="*/ 494092 h 4851901"/>
              <a:gd name="connsiteX750" fmla="*/ 3191099 w 4808490"/>
              <a:gd name="connsiteY750" fmla="*/ 493001 h 4851901"/>
              <a:gd name="connsiteX751" fmla="*/ 3187676 w 4808490"/>
              <a:gd name="connsiteY751" fmla="*/ 495507 h 4851901"/>
              <a:gd name="connsiteX752" fmla="*/ 3175849 w 4808490"/>
              <a:gd name="connsiteY752" fmla="*/ 501285 h 4851901"/>
              <a:gd name="connsiteX753" fmla="*/ 3157037 w 4808490"/>
              <a:gd name="connsiteY753" fmla="*/ 500735 h 4851901"/>
              <a:gd name="connsiteX754" fmla="*/ 3152137 w 4808490"/>
              <a:gd name="connsiteY754" fmla="*/ 505695 h 4851901"/>
              <a:gd name="connsiteX755" fmla="*/ 3148801 w 4808490"/>
              <a:gd name="connsiteY755" fmla="*/ 509073 h 4851901"/>
              <a:gd name="connsiteX756" fmla="*/ 3134592 w 4808490"/>
              <a:gd name="connsiteY756" fmla="*/ 505180 h 4851901"/>
              <a:gd name="connsiteX757" fmla="*/ 3071623 w 4808490"/>
              <a:gd name="connsiteY757" fmla="*/ 505055 h 4851901"/>
              <a:gd name="connsiteX758" fmla="*/ 3030249 w 4808490"/>
              <a:gd name="connsiteY758" fmla="*/ 509517 h 4851901"/>
              <a:gd name="connsiteX759" fmla="*/ 3027856 w 4808490"/>
              <a:gd name="connsiteY759" fmla="*/ 509774 h 4851901"/>
              <a:gd name="connsiteX760" fmla="*/ 3037309 w 4808490"/>
              <a:gd name="connsiteY760" fmla="*/ 510831 h 4851901"/>
              <a:gd name="connsiteX761" fmla="*/ 2984088 w 4808490"/>
              <a:gd name="connsiteY761" fmla="*/ 514496 h 4851901"/>
              <a:gd name="connsiteX762" fmla="*/ 2996451 w 4808490"/>
              <a:gd name="connsiteY762" fmla="*/ 520079 h 4851901"/>
              <a:gd name="connsiteX763" fmla="*/ 3064124 w 4808490"/>
              <a:gd name="connsiteY763" fmla="*/ 522116 h 4851901"/>
              <a:gd name="connsiteX764" fmla="*/ 3073356 w 4808490"/>
              <a:gd name="connsiteY764" fmla="*/ 521119 h 4851901"/>
              <a:gd name="connsiteX765" fmla="*/ 3080418 w 4808490"/>
              <a:gd name="connsiteY765" fmla="*/ 522433 h 4851901"/>
              <a:gd name="connsiteX766" fmla="*/ 3071184 w 4808490"/>
              <a:gd name="connsiteY766" fmla="*/ 523430 h 4851901"/>
              <a:gd name="connsiteX767" fmla="*/ 3064604 w 4808490"/>
              <a:gd name="connsiteY767" fmla="*/ 526559 h 4851901"/>
              <a:gd name="connsiteX768" fmla="*/ 2997926 w 4808490"/>
              <a:gd name="connsiteY768" fmla="*/ 533752 h 4851901"/>
              <a:gd name="connsiteX769" fmla="*/ 3053974 w 4808490"/>
              <a:gd name="connsiteY769" fmla="*/ 537042 h 4851901"/>
              <a:gd name="connsiteX770" fmla="*/ 2984765 w 4808490"/>
              <a:gd name="connsiteY770" fmla="*/ 540012 h 4851901"/>
              <a:gd name="connsiteX771" fmla="*/ 2998922 w 4808490"/>
              <a:gd name="connsiteY771" fmla="*/ 542981 h 4851901"/>
              <a:gd name="connsiteX772" fmla="*/ 3015252 w 4808490"/>
              <a:gd name="connsiteY772" fmla="*/ 543639 h 4851901"/>
              <a:gd name="connsiteX773" fmla="*/ 2937291 w 4808490"/>
              <a:gd name="connsiteY773" fmla="*/ 552048 h 4851901"/>
              <a:gd name="connsiteX774" fmla="*/ 2960421 w 4808490"/>
              <a:gd name="connsiteY774" fmla="*/ 551627 h 4851901"/>
              <a:gd name="connsiteX775" fmla="*/ 2969911 w 4808490"/>
              <a:gd name="connsiteY775" fmla="*/ 553026 h 4851901"/>
              <a:gd name="connsiteX776" fmla="*/ 3002310 w 4808490"/>
              <a:gd name="connsiteY776" fmla="*/ 551951 h 4851901"/>
              <a:gd name="connsiteX777" fmla="*/ 2990686 w 4808490"/>
              <a:gd name="connsiteY777" fmla="*/ 553205 h 4851901"/>
              <a:gd name="connsiteX778" fmla="*/ 3005807 w 4808490"/>
              <a:gd name="connsiteY778" fmla="*/ 559451 h 4851901"/>
              <a:gd name="connsiteX779" fmla="*/ 3007061 w 4808490"/>
              <a:gd name="connsiteY779" fmla="*/ 559589 h 4851901"/>
              <a:gd name="connsiteX780" fmla="*/ 3002744 w 4808490"/>
              <a:gd name="connsiteY780" fmla="*/ 562884 h 4851901"/>
              <a:gd name="connsiteX781" fmla="*/ 2992686 w 4808490"/>
              <a:gd name="connsiteY781" fmla="*/ 569322 h 4851901"/>
              <a:gd name="connsiteX782" fmla="*/ 2987231 w 4808490"/>
              <a:gd name="connsiteY782" fmla="*/ 570652 h 4851901"/>
              <a:gd name="connsiteX783" fmla="*/ 2986063 w 4808490"/>
              <a:gd name="connsiteY783" fmla="*/ 570727 h 4851901"/>
              <a:gd name="connsiteX784" fmla="*/ 2988509 w 4808490"/>
              <a:gd name="connsiteY784" fmla="*/ 564832 h 4851901"/>
              <a:gd name="connsiteX785" fmla="*/ 2992752 w 4808490"/>
              <a:gd name="connsiteY785" fmla="*/ 560600 h 4851901"/>
              <a:gd name="connsiteX786" fmla="*/ 2977792 w 4808490"/>
              <a:gd name="connsiteY786" fmla="*/ 569767 h 4851901"/>
              <a:gd name="connsiteX787" fmla="*/ 2961195 w 4808490"/>
              <a:gd name="connsiteY787" fmla="*/ 572103 h 4851901"/>
              <a:gd name="connsiteX788" fmla="*/ 2960638 w 4808490"/>
              <a:gd name="connsiteY788" fmla="*/ 572377 h 4851901"/>
              <a:gd name="connsiteX789" fmla="*/ 2911806 w 4808490"/>
              <a:gd name="connsiteY789" fmla="*/ 575544 h 4851901"/>
              <a:gd name="connsiteX790" fmla="*/ 2892862 w 4808490"/>
              <a:gd name="connsiteY790" fmla="*/ 573092 h 4851901"/>
              <a:gd name="connsiteX791" fmla="*/ 2849096 w 4808490"/>
              <a:gd name="connsiteY791" fmla="*/ 577812 h 4851901"/>
              <a:gd name="connsiteX792" fmla="*/ 2841741 w 4808490"/>
              <a:gd name="connsiteY792" fmla="*/ 573765 h 4851901"/>
              <a:gd name="connsiteX793" fmla="*/ 2853366 w 4808490"/>
              <a:gd name="connsiteY793" fmla="*/ 572512 h 4851901"/>
              <a:gd name="connsiteX794" fmla="*/ 2857811 w 4808490"/>
              <a:gd name="connsiteY794" fmla="*/ 572032 h 4851901"/>
              <a:gd name="connsiteX795" fmla="*/ 2871488 w 4808490"/>
              <a:gd name="connsiteY795" fmla="*/ 570557 h 4851901"/>
              <a:gd name="connsiteX796" fmla="*/ 2898964 w 4808490"/>
              <a:gd name="connsiteY796" fmla="*/ 565517 h 4851901"/>
              <a:gd name="connsiteX797" fmla="*/ 2910811 w 4808490"/>
              <a:gd name="connsiteY797" fmla="*/ 566315 h 4851901"/>
              <a:gd name="connsiteX798" fmla="*/ 2936371 w 4808490"/>
              <a:gd name="connsiteY798" fmla="*/ 565980 h 4851901"/>
              <a:gd name="connsiteX799" fmla="*/ 2912465 w 4808490"/>
              <a:gd name="connsiteY799" fmla="*/ 559221 h 4851901"/>
              <a:gd name="connsiteX800" fmla="*/ 2778513 w 4808490"/>
              <a:gd name="connsiteY800" fmla="*/ 571249 h 4851901"/>
              <a:gd name="connsiteX801" fmla="*/ 2793527 w 4808490"/>
              <a:gd name="connsiteY801" fmla="*/ 578966 h 4851901"/>
              <a:gd name="connsiteX802" fmla="*/ 2722064 w 4808490"/>
              <a:gd name="connsiteY802" fmla="*/ 586673 h 4851901"/>
              <a:gd name="connsiteX803" fmla="*/ 2737520 w 4808490"/>
              <a:gd name="connsiteY803" fmla="*/ 592884 h 4851901"/>
              <a:gd name="connsiteX804" fmla="*/ 2743221 w 4808490"/>
              <a:gd name="connsiteY804" fmla="*/ 593569 h 4851901"/>
              <a:gd name="connsiteX805" fmla="*/ 2735683 w 4808490"/>
              <a:gd name="connsiteY805" fmla="*/ 594281 h 4851901"/>
              <a:gd name="connsiteX806" fmla="*/ 2716000 w 4808490"/>
              <a:gd name="connsiteY806" fmla="*/ 594589 h 4851901"/>
              <a:gd name="connsiteX807" fmla="*/ 2732808 w 4808490"/>
              <a:gd name="connsiteY807" fmla="*/ 599692 h 4851901"/>
              <a:gd name="connsiteX808" fmla="*/ 2691433 w 4808490"/>
              <a:gd name="connsiteY808" fmla="*/ 604154 h 4851901"/>
              <a:gd name="connsiteX809" fmla="*/ 2620087 w 4808490"/>
              <a:gd name="connsiteY809" fmla="*/ 608521 h 4851901"/>
              <a:gd name="connsiteX810" fmla="*/ 2558358 w 4808490"/>
              <a:gd name="connsiteY810" fmla="*/ 613833 h 4851901"/>
              <a:gd name="connsiteX811" fmla="*/ 2557564 w 4808490"/>
              <a:gd name="connsiteY811" fmla="*/ 613752 h 4851901"/>
              <a:gd name="connsiteX812" fmla="*/ 2555171 w 4808490"/>
              <a:gd name="connsiteY812" fmla="*/ 614009 h 4851901"/>
              <a:gd name="connsiteX813" fmla="*/ 2550725 w 4808490"/>
              <a:gd name="connsiteY813" fmla="*/ 614490 h 4851901"/>
              <a:gd name="connsiteX814" fmla="*/ 2558358 w 4808490"/>
              <a:gd name="connsiteY814" fmla="*/ 613833 h 4851901"/>
              <a:gd name="connsiteX815" fmla="*/ 2567663 w 4808490"/>
              <a:gd name="connsiteY815" fmla="*/ 614780 h 4851901"/>
              <a:gd name="connsiteX816" fmla="*/ 2569105 w 4808490"/>
              <a:gd name="connsiteY816" fmla="*/ 614928 h 4851901"/>
              <a:gd name="connsiteX817" fmla="*/ 2541751 w 4808490"/>
              <a:gd name="connsiteY817" fmla="*/ 617878 h 4851901"/>
              <a:gd name="connsiteX818" fmla="*/ 2551499 w 4808490"/>
              <a:gd name="connsiteY818" fmla="*/ 621667 h 4851901"/>
              <a:gd name="connsiteX819" fmla="*/ 2487096 w 4808490"/>
              <a:gd name="connsiteY819" fmla="*/ 630689 h 4851901"/>
              <a:gd name="connsiteX820" fmla="*/ 2499239 w 4808490"/>
              <a:gd name="connsiteY820" fmla="*/ 634220 h 4851901"/>
              <a:gd name="connsiteX821" fmla="*/ 2462308 w 4808490"/>
              <a:gd name="connsiteY821" fmla="*/ 638204 h 4851901"/>
              <a:gd name="connsiteX822" fmla="*/ 2462530 w 4808490"/>
              <a:gd name="connsiteY822" fmla="*/ 640253 h 4851901"/>
              <a:gd name="connsiteX823" fmla="*/ 2508690 w 4808490"/>
              <a:gd name="connsiteY823" fmla="*/ 635275 h 4851901"/>
              <a:gd name="connsiteX824" fmla="*/ 2598277 w 4808490"/>
              <a:gd name="connsiteY824" fmla="*/ 625613 h 4851901"/>
              <a:gd name="connsiteX825" fmla="*/ 2603322 w 4808490"/>
              <a:gd name="connsiteY825" fmla="*/ 627488 h 4851901"/>
              <a:gd name="connsiteX826" fmla="*/ 2580071 w 4808490"/>
              <a:gd name="connsiteY826" fmla="*/ 629998 h 4851901"/>
              <a:gd name="connsiteX827" fmla="*/ 2594827 w 4808490"/>
              <a:gd name="connsiteY827" fmla="*/ 635321 h 4851901"/>
              <a:gd name="connsiteX828" fmla="*/ 2620645 w 4808490"/>
              <a:gd name="connsiteY828" fmla="*/ 637378 h 4851901"/>
              <a:gd name="connsiteX829" fmla="*/ 2542086 w 4808490"/>
              <a:gd name="connsiteY829" fmla="*/ 643431 h 4851901"/>
              <a:gd name="connsiteX830" fmla="*/ 2461648 w 4808490"/>
              <a:gd name="connsiteY830" fmla="*/ 654527 h 4851901"/>
              <a:gd name="connsiteX831" fmla="*/ 2480850 w 4808490"/>
              <a:gd name="connsiteY831" fmla="*/ 659372 h 4851901"/>
              <a:gd name="connsiteX832" fmla="*/ 2552830 w 4808490"/>
              <a:gd name="connsiteY832" fmla="*/ 656449 h 4851901"/>
              <a:gd name="connsiteX833" fmla="*/ 2624173 w 4808490"/>
              <a:gd name="connsiteY833" fmla="*/ 650830 h 4851901"/>
              <a:gd name="connsiteX834" fmla="*/ 2546213 w 4808490"/>
              <a:gd name="connsiteY834" fmla="*/ 659237 h 4851901"/>
              <a:gd name="connsiteX835" fmla="*/ 2541425 w 4808490"/>
              <a:gd name="connsiteY835" fmla="*/ 659754 h 4851901"/>
              <a:gd name="connsiteX836" fmla="*/ 2505096 w 4808490"/>
              <a:gd name="connsiteY836" fmla="*/ 666093 h 4851901"/>
              <a:gd name="connsiteX837" fmla="*/ 2472871 w 4808490"/>
              <a:gd name="connsiteY837" fmla="*/ 671989 h 4851901"/>
              <a:gd name="connsiteX838" fmla="*/ 2494467 w 4808490"/>
              <a:gd name="connsiteY838" fmla="*/ 676576 h 4851901"/>
              <a:gd name="connsiteX839" fmla="*/ 2531137 w 4808490"/>
              <a:gd name="connsiteY839" fmla="*/ 670200 h 4851901"/>
              <a:gd name="connsiteX840" fmla="*/ 2698545 w 4808490"/>
              <a:gd name="connsiteY840" fmla="*/ 647649 h 4851901"/>
              <a:gd name="connsiteX841" fmla="*/ 2681178 w 4808490"/>
              <a:gd name="connsiteY841" fmla="*/ 642666 h 4851901"/>
              <a:gd name="connsiteX842" fmla="*/ 2675625 w 4808490"/>
              <a:gd name="connsiteY842" fmla="*/ 641263 h 4851901"/>
              <a:gd name="connsiteX843" fmla="*/ 2702255 w 4808490"/>
              <a:gd name="connsiteY843" fmla="*/ 639122 h 4851901"/>
              <a:gd name="connsiteX844" fmla="*/ 2746022 w 4808490"/>
              <a:gd name="connsiteY844" fmla="*/ 635613 h 4851901"/>
              <a:gd name="connsiteX845" fmla="*/ 2726561 w 4808490"/>
              <a:gd name="connsiteY845" fmla="*/ 628376 h 4851901"/>
              <a:gd name="connsiteX846" fmla="*/ 2633809 w 4808490"/>
              <a:gd name="connsiteY846" fmla="*/ 631116 h 4851901"/>
              <a:gd name="connsiteX847" fmla="*/ 2733143 w 4808490"/>
              <a:gd name="connsiteY847" fmla="*/ 625245 h 4851901"/>
              <a:gd name="connsiteX848" fmla="*/ 2716075 w 4808490"/>
              <a:gd name="connsiteY848" fmla="*/ 617749 h 4851901"/>
              <a:gd name="connsiteX849" fmla="*/ 2711630 w 4808490"/>
              <a:gd name="connsiteY849" fmla="*/ 618227 h 4851901"/>
              <a:gd name="connsiteX850" fmla="*/ 2699490 w 4808490"/>
              <a:gd name="connsiteY850" fmla="*/ 614696 h 4851901"/>
              <a:gd name="connsiteX851" fmla="*/ 2711115 w 4808490"/>
              <a:gd name="connsiteY851" fmla="*/ 613442 h 4851901"/>
              <a:gd name="connsiteX852" fmla="*/ 2704054 w 4808490"/>
              <a:gd name="connsiteY852" fmla="*/ 612129 h 4851901"/>
              <a:gd name="connsiteX853" fmla="*/ 2713287 w 4808490"/>
              <a:gd name="connsiteY853" fmla="*/ 611133 h 4851901"/>
              <a:gd name="connsiteX854" fmla="*/ 2782236 w 4808490"/>
              <a:gd name="connsiteY854" fmla="*/ 605772 h 4851901"/>
              <a:gd name="connsiteX855" fmla="*/ 2789850 w 4808490"/>
              <a:gd name="connsiteY855" fmla="*/ 612213 h 4851901"/>
              <a:gd name="connsiteX856" fmla="*/ 2838626 w 4808490"/>
              <a:gd name="connsiteY856" fmla="*/ 609027 h 4851901"/>
              <a:gd name="connsiteX857" fmla="*/ 2843329 w 4808490"/>
              <a:gd name="connsiteY857" fmla="*/ 610938 h 4851901"/>
              <a:gd name="connsiteX858" fmla="*/ 2810929 w 4808490"/>
              <a:gd name="connsiteY858" fmla="*/ 612013 h 4851901"/>
              <a:gd name="connsiteX859" fmla="*/ 2887221 w 4808490"/>
              <a:gd name="connsiteY859" fmla="*/ 609995 h 4851901"/>
              <a:gd name="connsiteX860" fmla="*/ 2884495 w 4808490"/>
              <a:gd name="connsiteY860" fmla="*/ 612901 h 4851901"/>
              <a:gd name="connsiteX861" fmla="*/ 2870845 w 4808490"/>
              <a:gd name="connsiteY861" fmla="*/ 613105 h 4851901"/>
              <a:gd name="connsiteX862" fmla="*/ 2870519 w 4808490"/>
              <a:gd name="connsiteY862" fmla="*/ 616696 h 4851901"/>
              <a:gd name="connsiteX863" fmla="*/ 2869161 w 4808490"/>
              <a:gd name="connsiteY863" fmla="*/ 619910 h 4851901"/>
              <a:gd name="connsiteX864" fmla="*/ 2863976 w 4808490"/>
              <a:gd name="connsiteY864" fmla="*/ 620469 h 4851901"/>
              <a:gd name="connsiteX865" fmla="*/ 2865368 w 4808490"/>
              <a:gd name="connsiteY865" fmla="*/ 614501 h 4851901"/>
              <a:gd name="connsiteX866" fmla="*/ 2860092 w 4808490"/>
              <a:gd name="connsiteY866" fmla="*/ 620889 h 4851901"/>
              <a:gd name="connsiteX867" fmla="*/ 2856208 w 4808490"/>
              <a:gd name="connsiteY867" fmla="*/ 621307 h 4851901"/>
              <a:gd name="connsiteX868" fmla="*/ 2737011 w 4808490"/>
              <a:gd name="connsiteY868" fmla="*/ 638658 h 4851901"/>
              <a:gd name="connsiteX869" fmla="*/ 2753819 w 4808490"/>
              <a:gd name="connsiteY869" fmla="*/ 643762 h 4851901"/>
              <a:gd name="connsiteX870" fmla="*/ 2775193 w 4808490"/>
              <a:gd name="connsiteY870" fmla="*/ 646297 h 4851901"/>
              <a:gd name="connsiteX871" fmla="*/ 2756949 w 4808490"/>
              <a:gd name="connsiteY871" fmla="*/ 650340 h 4851901"/>
              <a:gd name="connsiteX872" fmla="*/ 2745581 w 4808490"/>
              <a:gd name="connsiteY872" fmla="*/ 653988 h 4851901"/>
              <a:gd name="connsiteX873" fmla="*/ 2534441 w 4808490"/>
              <a:gd name="connsiteY873" fmla="*/ 681601 h 4851901"/>
              <a:gd name="connsiteX874" fmla="*/ 2556296 w 4808490"/>
              <a:gd name="connsiteY874" fmla="*/ 688581 h 4851901"/>
              <a:gd name="connsiteX875" fmla="*/ 2642173 w 4808490"/>
              <a:gd name="connsiteY875" fmla="*/ 686233 h 4851901"/>
              <a:gd name="connsiteX876" fmla="*/ 2640002 w 4808490"/>
              <a:gd name="connsiteY876" fmla="*/ 688543 h 4851901"/>
              <a:gd name="connsiteX877" fmla="*/ 2520842 w 4808490"/>
              <a:gd name="connsiteY877" fmla="*/ 706235 h 4851901"/>
              <a:gd name="connsiteX878" fmla="*/ 2540043 w 4808490"/>
              <a:gd name="connsiteY878" fmla="*/ 711081 h 4851901"/>
              <a:gd name="connsiteX879" fmla="*/ 2602791 w 4808490"/>
              <a:gd name="connsiteY879" fmla="*/ 709155 h 4851901"/>
              <a:gd name="connsiteX880" fmla="*/ 2578225 w 4808490"/>
              <a:gd name="connsiteY880" fmla="*/ 718719 h 4851901"/>
              <a:gd name="connsiteX881" fmla="*/ 2564205 w 4808490"/>
              <a:gd name="connsiteY881" fmla="*/ 720232 h 4851901"/>
              <a:gd name="connsiteX882" fmla="*/ 2540781 w 4808490"/>
              <a:gd name="connsiteY882" fmla="*/ 717917 h 4851901"/>
              <a:gd name="connsiteX883" fmla="*/ 2417433 w 4808490"/>
              <a:gd name="connsiteY883" fmla="*/ 738483 h 4851901"/>
              <a:gd name="connsiteX884" fmla="*/ 2431848 w 4808490"/>
              <a:gd name="connsiteY884" fmla="*/ 743845 h 4851901"/>
              <a:gd name="connsiteX885" fmla="*/ 2422615 w 4808490"/>
              <a:gd name="connsiteY885" fmla="*/ 744840 h 4851901"/>
              <a:gd name="connsiteX886" fmla="*/ 2420784 w 4808490"/>
              <a:gd name="connsiteY886" fmla="*/ 747112 h 4851901"/>
              <a:gd name="connsiteX887" fmla="*/ 2308205 w 4808490"/>
              <a:gd name="connsiteY887" fmla="*/ 761675 h 4851901"/>
              <a:gd name="connsiteX888" fmla="*/ 2317954 w 4808490"/>
              <a:gd name="connsiteY888" fmla="*/ 765465 h 4851901"/>
              <a:gd name="connsiteX889" fmla="*/ 2394858 w 4808490"/>
              <a:gd name="connsiteY889" fmla="*/ 766506 h 4851901"/>
              <a:gd name="connsiteX890" fmla="*/ 2270617 w 4808490"/>
              <a:gd name="connsiteY890" fmla="*/ 781981 h 4851901"/>
              <a:gd name="connsiteX891" fmla="*/ 2292249 w 4808490"/>
              <a:gd name="connsiteY891" fmla="*/ 786910 h 4851901"/>
              <a:gd name="connsiteX892" fmla="*/ 2509086 w 4808490"/>
              <a:gd name="connsiteY892" fmla="*/ 770438 h 4851901"/>
              <a:gd name="connsiteX893" fmla="*/ 2528290 w 4808490"/>
              <a:gd name="connsiteY893" fmla="*/ 775283 h 4851901"/>
              <a:gd name="connsiteX894" fmla="*/ 2366182 w 4808490"/>
              <a:gd name="connsiteY894" fmla="*/ 802104 h 4851901"/>
              <a:gd name="connsiteX895" fmla="*/ 2387436 w 4808490"/>
              <a:gd name="connsiteY895" fmla="*/ 806726 h 4851901"/>
              <a:gd name="connsiteX896" fmla="*/ 2401371 w 4808490"/>
              <a:gd name="connsiteY896" fmla="*/ 807645 h 4851901"/>
              <a:gd name="connsiteX897" fmla="*/ 2385300 w 4808490"/>
              <a:gd name="connsiteY897" fmla="*/ 809379 h 4851901"/>
              <a:gd name="connsiteX898" fmla="*/ 2407117 w 4808490"/>
              <a:gd name="connsiteY898" fmla="*/ 816016 h 4851901"/>
              <a:gd name="connsiteX899" fmla="*/ 2469347 w 4808490"/>
              <a:gd name="connsiteY899" fmla="*/ 809303 h 4851901"/>
              <a:gd name="connsiteX900" fmla="*/ 2454850 w 4808490"/>
              <a:gd name="connsiteY900" fmla="*/ 806372 h 4851901"/>
              <a:gd name="connsiteX901" fmla="*/ 2596957 w 4808490"/>
              <a:gd name="connsiteY901" fmla="*/ 786550 h 4851901"/>
              <a:gd name="connsiteX902" fmla="*/ 2599349 w 4808490"/>
              <a:gd name="connsiteY902" fmla="*/ 786291 h 4851901"/>
              <a:gd name="connsiteX903" fmla="*/ 2622738 w 4808490"/>
              <a:gd name="connsiteY903" fmla="*/ 788264 h 4851901"/>
              <a:gd name="connsiteX904" fmla="*/ 2745287 w 4808490"/>
              <a:gd name="connsiteY904" fmla="*/ 779543 h 4851901"/>
              <a:gd name="connsiteX905" fmla="*/ 2608399 w 4808490"/>
              <a:gd name="connsiteY905" fmla="*/ 806063 h 4851901"/>
              <a:gd name="connsiteX906" fmla="*/ 2630254 w 4808490"/>
              <a:gd name="connsiteY906" fmla="*/ 813043 h 4851901"/>
              <a:gd name="connsiteX907" fmla="*/ 2678724 w 4808490"/>
              <a:gd name="connsiteY907" fmla="*/ 810235 h 4851901"/>
              <a:gd name="connsiteX908" fmla="*/ 2669493 w 4808490"/>
              <a:gd name="connsiteY908" fmla="*/ 811231 h 4851901"/>
              <a:gd name="connsiteX909" fmla="*/ 2539527 w 4808490"/>
              <a:gd name="connsiteY909" fmla="*/ 834584 h 4851901"/>
              <a:gd name="connsiteX910" fmla="*/ 2561038 w 4808490"/>
              <a:gd name="connsiteY910" fmla="*/ 841601 h 4851901"/>
              <a:gd name="connsiteX911" fmla="*/ 2611865 w 4808490"/>
              <a:gd name="connsiteY911" fmla="*/ 838194 h 4851901"/>
              <a:gd name="connsiteX912" fmla="*/ 2559467 w 4808490"/>
              <a:gd name="connsiteY912" fmla="*/ 846266 h 4851901"/>
              <a:gd name="connsiteX913" fmla="*/ 2545188 w 4808490"/>
              <a:gd name="connsiteY913" fmla="*/ 845386 h 4851901"/>
              <a:gd name="connsiteX914" fmla="*/ 2365195 w 4808490"/>
              <a:gd name="connsiteY914" fmla="*/ 860304 h 4851901"/>
              <a:gd name="connsiteX915" fmla="*/ 2503337 w 4808490"/>
              <a:gd name="connsiteY915" fmla="*/ 845405 h 4851901"/>
              <a:gd name="connsiteX916" fmla="*/ 2479431 w 4808490"/>
              <a:gd name="connsiteY916" fmla="*/ 838645 h 4851901"/>
              <a:gd name="connsiteX917" fmla="*/ 2417198 w 4808490"/>
              <a:gd name="connsiteY917" fmla="*/ 845358 h 4851901"/>
              <a:gd name="connsiteX918" fmla="*/ 2396204 w 4808490"/>
              <a:gd name="connsiteY918" fmla="*/ 843128 h 4851901"/>
              <a:gd name="connsiteX919" fmla="*/ 2338417 w 4808490"/>
              <a:gd name="connsiteY919" fmla="*/ 849361 h 4851901"/>
              <a:gd name="connsiteX920" fmla="*/ 2567763 w 4808490"/>
              <a:gd name="connsiteY920" fmla="*/ 817362 h 4851901"/>
              <a:gd name="connsiteX921" fmla="*/ 2546253 w 4808490"/>
              <a:gd name="connsiteY921" fmla="*/ 810345 h 4851901"/>
              <a:gd name="connsiteX922" fmla="*/ 2266779 w 4808490"/>
              <a:gd name="connsiteY922" fmla="*/ 852246 h 4851901"/>
              <a:gd name="connsiteX923" fmla="*/ 2274134 w 4808490"/>
              <a:gd name="connsiteY923" fmla="*/ 856293 h 4851901"/>
              <a:gd name="connsiteX924" fmla="*/ 2239820 w 4808490"/>
              <a:gd name="connsiteY924" fmla="*/ 862069 h 4851901"/>
              <a:gd name="connsiteX925" fmla="*/ 2249568 w 4808490"/>
              <a:gd name="connsiteY925" fmla="*/ 865859 h 4851901"/>
              <a:gd name="connsiteX926" fmla="*/ 2187817 w 4808490"/>
              <a:gd name="connsiteY926" fmla="*/ 877015 h 4851901"/>
              <a:gd name="connsiteX927" fmla="*/ 2209410 w 4808490"/>
              <a:gd name="connsiteY927" fmla="*/ 881602 h 4851901"/>
              <a:gd name="connsiteX928" fmla="*/ 2320114 w 4808490"/>
              <a:gd name="connsiteY928" fmla="*/ 872082 h 4851901"/>
              <a:gd name="connsiteX929" fmla="*/ 2433208 w 4808490"/>
              <a:gd name="connsiteY929" fmla="*/ 862305 h 4851901"/>
              <a:gd name="connsiteX930" fmla="*/ 2339094 w 4808490"/>
              <a:gd name="connsiteY930" fmla="*/ 874875 h 4851901"/>
              <a:gd name="connsiteX931" fmla="*/ 2356160 w 4808490"/>
              <a:gd name="connsiteY931" fmla="*/ 882372 h 4851901"/>
              <a:gd name="connsiteX932" fmla="*/ 2409039 w 4808490"/>
              <a:gd name="connsiteY932" fmla="*/ 878743 h 4851901"/>
              <a:gd name="connsiteX933" fmla="*/ 2224024 w 4808490"/>
              <a:gd name="connsiteY933" fmla="*/ 908035 h 4851901"/>
              <a:gd name="connsiteX934" fmla="*/ 2245276 w 4808490"/>
              <a:gd name="connsiteY934" fmla="*/ 912658 h 4851901"/>
              <a:gd name="connsiteX935" fmla="*/ 2323580 w 4808490"/>
              <a:gd name="connsiteY935" fmla="*/ 904213 h 4851901"/>
              <a:gd name="connsiteX936" fmla="*/ 2330418 w 4808490"/>
              <a:gd name="connsiteY936" fmla="*/ 903476 h 4851901"/>
              <a:gd name="connsiteX937" fmla="*/ 2362302 w 4808490"/>
              <a:gd name="connsiteY937" fmla="*/ 897616 h 4851901"/>
              <a:gd name="connsiteX938" fmla="*/ 2351275 w 4808490"/>
              <a:gd name="connsiteY938" fmla="*/ 901225 h 4851901"/>
              <a:gd name="connsiteX939" fmla="*/ 2372529 w 4808490"/>
              <a:gd name="connsiteY939" fmla="*/ 905849 h 4851901"/>
              <a:gd name="connsiteX940" fmla="*/ 2480838 w 4808490"/>
              <a:gd name="connsiteY940" fmla="*/ 896587 h 4851901"/>
              <a:gd name="connsiteX941" fmla="*/ 2279889 w 4808490"/>
              <a:gd name="connsiteY941" fmla="*/ 932094 h 4851901"/>
              <a:gd name="connsiteX942" fmla="*/ 2224616 w 4808490"/>
              <a:gd name="connsiteY942" fmla="*/ 935980 h 4851901"/>
              <a:gd name="connsiteX943" fmla="*/ 2299787 w 4808490"/>
              <a:gd name="connsiteY943" fmla="*/ 920956 h 4851901"/>
              <a:gd name="connsiteX944" fmla="*/ 2278154 w 4808490"/>
              <a:gd name="connsiteY944" fmla="*/ 916028 h 4851901"/>
              <a:gd name="connsiteX945" fmla="*/ 2152893 w 4808490"/>
              <a:gd name="connsiteY945" fmla="*/ 941295 h 4851901"/>
              <a:gd name="connsiteX946" fmla="*/ 2169702 w 4808490"/>
              <a:gd name="connsiteY946" fmla="*/ 946398 h 4851901"/>
              <a:gd name="connsiteX947" fmla="*/ 2124153 w 4808490"/>
              <a:gd name="connsiteY947" fmla="*/ 957112 h 4851901"/>
              <a:gd name="connsiteX948" fmla="*/ 2125761 w 4808490"/>
              <a:gd name="connsiteY948" fmla="*/ 959442 h 4851901"/>
              <a:gd name="connsiteX949" fmla="*/ 2148799 w 4808490"/>
              <a:gd name="connsiteY949" fmla="*/ 960966 h 4851901"/>
              <a:gd name="connsiteX950" fmla="*/ 2171434 w 4808490"/>
              <a:gd name="connsiteY950" fmla="*/ 962463 h 4851901"/>
              <a:gd name="connsiteX951" fmla="*/ 2179612 w 4808490"/>
              <a:gd name="connsiteY951" fmla="*/ 970918 h 4851901"/>
              <a:gd name="connsiteX952" fmla="*/ 2189018 w 4808490"/>
              <a:gd name="connsiteY952" fmla="*/ 974744 h 4851901"/>
              <a:gd name="connsiteX953" fmla="*/ 2158532 w 4808490"/>
              <a:gd name="connsiteY953" fmla="*/ 971117 h 4851901"/>
              <a:gd name="connsiteX954" fmla="*/ 2166329 w 4808490"/>
              <a:gd name="connsiteY954" fmla="*/ 979267 h 4851901"/>
              <a:gd name="connsiteX955" fmla="*/ 2145335 w 4808490"/>
              <a:gd name="connsiteY955" fmla="*/ 977036 h 4851901"/>
              <a:gd name="connsiteX956" fmla="*/ 2132713 w 4808490"/>
              <a:gd name="connsiteY956" fmla="*/ 969061 h 4851901"/>
              <a:gd name="connsiteX957" fmla="*/ 2132009 w 4808490"/>
              <a:gd name="connsiteY957" fmla="*/ 968495 h 4851901"/>
              <a:gd name="connsiteX958" fmla="*/ 2143327 w 4808490"/>
              <a:gd name="connsiteY958" fmla="*/ 984894 h 4851901"/>
              <a:gd name="connsiteX959" fmla="*/ 2214541 w 4808490"/>
              <a:gd name="connsiteY959" fmla="*/ 974066 h 4851901"/>
              <a:gd name="connsiteX960" fmla="*/ 2219329 w 4808490"/>
              <a:gd name="connsiteY960" fmla="*/ 973551 h 4851901"/>
              <a:gd name="connsiteX961" fmla="*/ 2144849 w 4808490"/>
              <a:gd name="connsiteY961" fmla="*/ 987101 h 4851901"/>
              <a:gd name="connsiteX962" fmla="*/ 2147800 w 4808490"/>
              <a:gd name="connsiteY962" fmla="*/ 991374 h 4851901"/>
              <a:gd name="connsiteX963" fmla="*/ 2163137 w 4808490"/>
              <a:gd name="connsiteY963" fmla="*/ 991367 h 4851901"/>
              <a:gd name="connsiteX964" fmla="*/ 2160265 w 4808490"/>
              <a:gd name="connsiteY964" fmla="*/ 987182 h 4851901"/>
              <a:gd name="connsiteX965" fmla="*/ 2186564 w 4808490"/>
              <a:gd name="connsiteY965" fmla="*/ 993683 h 4851901"/>
              <a:gd name="connsiteX966" fmla="*/ 2172628 w 4808490"/>
              <a:gd name="connsiteY966" fmla="*/ 992765 h 4851901"/>
              <a:gd name="connsiteX967" fmla="*/ 2175416 w 4808490"/>
              <a:gd name="connsiteY967" fmla="*/ 999380 h 4851901"/>
              <a:gd name="connsiteX968" fmla="*/ 2151987 w 4808490"/>
              <a:gd name="connsiteY968" fmla="*/ 997443 h 4851901"/>
              <a:gd name="connsiteX969" fmla="*/ 2157897 w 4808490"/>
              <a:gd name="connsiteY969" fmla="*/ 1006007 h 4851901"/>
              <a:gd name="connsiteX970" fmla="*/ 2189911 w 4808490"/>
              <a:gd name="connsiteY970" fmla="*/ 1010809 h 4851901"/>
              <a:gd name="connsiteX971" fmla="*/ 2160262 w 4808490"/>
              <a:gd name="connsiteY971" fmla="*/ 1009433 h 4851901"/>
              <a:gd name="connsiteX972" fmla="*/ 2168061 w 4808490"/>
              <a:gd name="connsiteY972" fmla="*/ 1020731 h 4851901"/>
              <a:gd name="connsiteX973" fmla="*/ 2168738 w 4808490"/>
              <a:gd name="connsiteY973" fmla="*/ 1020848 h 4851901"/>
              <a:gd name="connsiteX974" fmla="*/ 2215811 w 4808490"/>
              <a:gd name="connsiteY974" fmla="*/ 1027528 h 4851901"/>
              <a:gd name="connsiteX975" fmla="*/ 2216069 w 4808490"/>
              <a:gd name="connsiteY975" fmla="*/ 1029921 h 4851901"/>
              <a:gd name="connsiteX976" fmla="*/ 2171306 w 4808490"/>
              <a:gd name="connsiteY976" fmla="*/ 1025412 h 4851901"/>
              <a:gd name="connsiteX977" fmla="*/ 2171292 w 4808490"/>
              <a:gd name="connsiteY977" fmla="*/ 1025414 h 4851901"/>
              <a:gd name="connsiteX978" fmla="*/ 2178148 w 4808490"/>
              <a:gd name="connsiteY978" fmla="*/ 1035346 h 4851901"/>
              <a:gd name="connsiteX979" fmla="*/ 2208336 w 4808490"/>
              <a:gd name="connsiteY979" fmla="*/ 1037195 h 4851901"/>
              <a:gd name="connsiteX980" fmla="*/ 2245498 w 4808490"/>
              <a:gd name="connsiteY980" fmla="*/ 1042998 h 4851901"/>
              <a:gd name="connsiteX981" fmla="*/ 2244982 w 4808490"/>
              <a:gd name="connsiteY981" fmla="*/ 1038214 h 4851901"/>
              <a:gd name="connsiteX982" fmla="*/ 2247375 w 4808490"/>
              <a:gd name="connsiteY982" fmla="*/ 1037955 h 4851901"/>
              <a:gd name="connsiteX983" fmla="*/ 2257260 w 4808490"/>
              <a:gd name="connsiteY983" fmla="*/ 1046225 h 4851901"/>
              <a:gd name="connsiteX984" fmla="*/ 2283338 w 4808490"/>
              <a:gd name="connsiteY984" fmla="*/ 1050675 h 4851901"/>
              <a:gd name="connsiteX985" fmla="*/ 2337812 w 4808490"/>
              <a:gd name="connsiteY985" fmla="*/ 1058631 h 4851901"/>
              <a:gd name="connsiteX986" fmla="*/ 2295443 w 4808490"/>
              <a:gd name="connsiteY986" fmla="*/ 1053865 h 4851901"/>
              <a:gd name="connsiteX987" fmla="*/ 2295702 w 4808490"/>
              <a:gd name="connsiteY987" fmla="*/ 1056257 h 4851901"/>
              <a:gd name="connsiteX988" fmla="*/ 2201473 w 4808490"/>
              <a:gd name="connsiteY988" fmla="*/ 1045325 h 4851901"/>
              <a:gd name="connsiteX989" fmla="*/ 2184520 w 4808490"/>
              <a:gd name="connsiteY989" fmla="*/ 1044579 h 4851901"/>
              <a:gd name="connsiteX990" fmla="*/ 2200920 w 4808490"/>
              <a:gd name="connsiteY990" fmla="*/ 1068345 h 4851901"/>
              <a:gd name="connsiteX991" fmla="*/ 2187075 w 4808490"/>
              <a:gd name="connsiteY991" fmla="*/ 1070058 h 4851901"/>
              <a:gd name="connsiteX992" fmla="*/ 2134743 w 4808490"/>
              <a:gd name="connsiteY992" fmla="*/ 1082954 h 4851901"/>
              <a:gd name="connsiteX993" fmla="*/ 2138041 w 4808490"/>
              <a:gd name="connsiteY993" fmla="*/ 1082597 h 4851901"/>
              <a:gd name="connsiteX994" fmla="*/ 2154332 w 4808490"/>
              <a:gd name="connsiteY994" fmla="*/ 1082917 h 4851901"/>
              <a:gd name="connsiteX995" fmla="*/ 2175707 w 4808490"/>
              <a:gd name="connsiteY995" fmla="*/ 1085451 h 4851901"/>
              <a:gd name="connsiteX996" fmla="*/ 2185333 w 4808490"/>
              <a:gd name="connsiteY996" fmla="*/ 1091329 h 4851901"/>
              <a:gd name="connsiteX997" fmla="*/ 2199611 w 4808490"/>
              <a:gd name="connsiteY997" fmla="*/ 1092210 h 4851901"/>
              <a:gd name="connsiteX998" fmla="*/ 2230355 w 4808490"/>
              <a:gd name="connsiteY998" fmla="*/ 1098231 h 4851901"/>
              <a:gd name="connsiteX999" fmla="*/ 2242459 w 4808490"/>
              <a:gd name="connsiteY999" fmla="*/ 1101419 h 4851901"/>
              <a:gd name="connsiteX1000" fmla="*/ 2244595 w 4808490"/>
              <a:gd name="connsiteY1000" fmla="*/ 1098769 h 4851901"/>
              <a:gd name="connsiteX1001" fmla="*/ 2275118 w 4808490"/>
              <a:gd name="connsiteY1001" fmla="*/ 1102739 h 4851901"/>
              <a:gd name="connsiteX1002" fmla="*/ 2271950 w 4808490"/>
              <a:gd name="connsiteY1002" fmla="*/ 1095818 h 4851901"/>
              <a:gd name="connsiteX1003" fmla="*/ 2307260 w 4808490"/>
              <a:gd name="connsiteY1003" fmla="*/ 1099272 h 4851901"/>
              <a:gd name="connsiteX1004" fmla="*/ 2335692 w 4808490"/>
              <a:gd name="connsiteY1004" fmla="*/ 1103121 h 4851901"/>
              <a:gd name="connsiteX1005" fmla="*/ 2328854 w 4808490"/>
              <a:gd name="connsiteY1005" fmla="*/ 1103859 h 4851901"/>
              <a:gd name="connsiteX1006" fmla="*/ 2336689 w 4808490"/>
              <a:gd name="connsiteY1006" fmla="*/ 1112349 h 4851901"/>
              <a:gd name="connsiteX1007" fmla="*/ 2377879 w 4808490"/>
              <a:gd name="connsiteY1007" fmla="*/ 1128655 h 4851901"/>
              <a:gd name="connsiteX1008" fmla="*/ 2297785 w 4808490"/>
              <a:gd name="connsiteY1008" fmla="*/ 1139715 h 4851901"/>
              <a:gd name="connsiteX1009" fmla="*/ 2298042 w 4808490"/>
              <a:gd name="connsiteY1009" fmla="*/ 1142107 h 4851901"/>
              <a:gd name="connsiteX1010" fmla="*/ 2244361 w 4808490"/>
              <a:gd name="connsiteY1010" fmla="*/ 1131285 h 4851901"/>
              <a:gd name="connsiteX1011" fmla="*/ 2248954 w 4808490"/>
              <a:gd name="connsiteY1011" fmla="*/ 1137942 h 4851901"/>
              <a:gd name="connsiteX1012" fmla="*/ 2274875 w 4808490"/>
              <a:gd name="connsiteY1012" fmla="*/ 1142185 h 4851901"/>
              <a:gd name="connsiteX1013" fmla="*/ 2251249 w 4808490"/>
              <a:gd name="connsiteY1013" fmla="*/ 1141267 h 4851901"/>
              <a:gd name="connsiteX1014" fmla="*/ 2267551 w 4808490"/>
              <a:gd name="connsiteY1014" fmla="*/ 1164889 h 4851901"/>
              <a:gd name="connsiteX1015" fmla="*/ 2238270 w 4808490"/>
              <a:gd name="connsiteY1015" fmla="*/ 1169914 h 4851901"/>
              <a:gd name="connsiteX1016" fmla="*/ 2247506 w 4808490"/>
              <a:gd name="connsiteY1016" fmla="*/ 1182617 h 4851901"/>
              <a:gd name="connsiteX1017" fmla="*/ 2255518 w 4808490"/>
              <a:gd name="connsiteY1017" fmla="*/ 1187224 h 4851901"/>
              <a:gd name="connsiteX1018" fmla="*/ 2261131 w 4808490"/>
              <a:gd name="connsiteY1018" fmla="*/ 1187929 h 4851901"/>
              <a:gd name="connsiteX1019" fmla="*/ 2264021 w 4808490"/>
              <a:gd name="connsiteY1019" fmla="*/ 1191076 h 4851901"/>
              <a:gd name="connsiteX1020" fmla="*/ 2265852 w 4808490"/>
              <a:gd name="connsiteY1020" fmla="*/ 1192230 h 4851901"/>
              <a:gd name="connsiteX1021" fmla="*/ 2282891 w 4808490"/>
              <a:gd name="connsiteY1021" fmla="*/ 1192691 h 4851901"/>
              <a:gd name="connsiteX1022" fmla="*/ 2286819 w 4808490"/>
              <a:gd name="connsiteY1022" fmla="*/ 1192807 h 4851901"/>
              <a:gd name="connsiteX1023" fmla="*/ 2297547 w 4808490"/>
              <a:gd name="connsiteY1023" fmla="*/ 1208351 h 4851901"/>
              <a:gd name="connsiteX1024" fmla="*/ 2289207 w 4808490"/>
              <a:gd name="connsiteY1024" fmla="*/ 1210545 h 4851901"/>
              <a:gd name="connsiteX1025" fmla="*/ 2292383 w 4808490"/>
              <a:gd name="connsiteY1025" fmla="*/ 1213908 h 4851901"/>
              <a:gd name="connsiteX1026" fmla="*/ 2299389 w 4808490"/>
              <a:gd name="connsiteY1026" fmla="*/ 1218729 h 4851901"/>
              <a:gd name="connsiteX1027" fmla="*/ 2382213 w 4808490"/>
              <a:gd name="connsiteY1027" fmla="*/ 1232964 h 4851901"/>
              <a:gd name="connsiteX1028" fmla="*/ 2379821 w 4808490"/>
              <a:gd name="connsiteY1028" fmla="*/ 1233222 h 4851901"/>
              <a:gd name="connsiteX1029" fmla="*/ 2321637 w 4808490"/>
              <a:gd name="connsiteY1029" fmla="*/ 1232580 h 4851901"/>
              <a:gd name="connsiteX1030" fmla="*/ 2266071 w 4808490"/>
              <a:gd name="connsiteY1030" fmla="*/ 1233733 h 4851901"/>
              <a:gd name="connsiteX1031" fmla="*/ 2273905 w 4808490"/>
              <a:gd name="connsiteY1031" fmla="*/ 1242224 h 4851901"/>
              <a:gd name="connsiteX1032" fmla="*/ 2281260 w 4808490"/>
              <a:gd name="connsiteY1032" fmla="*/ 1246272 h 4851901"/>
              <a:gd name="connsiteX1033" fmla="*/ 2272249 w 4808490"/>
              <a:gd name="connsiteY1033" fmla="*/ 1249319 h 4851901"/>
              <a:gd name="connsiteX1034" fmla="*/ 2268061 w 4808490"/>
              <a:gd name="connsiteY1034" fmla="*/ 1252191 h 4851901"/>
              <a:gd name="connsiteX1035" fmla="*/ 2167989 w 4808490"/>
              <a:gd name="connsiteY1035" fmla="*/ 1251228 h 4851901"/>
              <a:gd name="connsiteX1036" fmla="*/ 2177874 w 4808490"/>
              <a:gd name="connsiteY1036" fmla="*/ 1259497 h 4851901"/>
              <a:gd name="connsiteX1037" fmla="*/ 2216315 w 4808490"/>
              <a:gd name="connsiteY1037" fmla="*/ 1269530 h 4851901"/>
              <a:gd name="connsiteX1038" fmla="*/ 2216573 w 4808490"/>
              <a:gd name="connsiteY1038" fmla="*/ 1271922 h 4851901"/>
              <a:gd name="connsiteX1039" fmla="*/ 2158354 w 4808490"/>
              <a:gd name="connsiteY1039" fmla="*/ 1270939 h 4851901"/>
              <a:gd name="connsiteX1040" fmla="*/ 2168840 w 4808490"/>
              <a:gd name="connsiteY1040" fmla="*/ 1281566 h 4851901"/>
              <a:gd name="connsiteX1041" fmla="*/ 2197532 w 4808490"/>
              <a:gd name="connsiteY1041" fmla="*/ 1287808 h 4851901"/>
              <a:gd name="connsiteX1042" fmla="*/ 2183991 w 4808490"/>
              <a:gd name="connsiteY1042" fmla="*/ 1293763 h 4851901"/>
              <a:gd name="connsiteX1043" fmla="*/ 2177153 w 4808490"/>
              <a:gd name="connsiteY1043" fmla="*/ 1294501 h 4851901"/>
              <a:gd name="connsiteX1044" fmla="*/ 2166926 w 4808490"/>
              <a:gd name="connsiteY1044" fmla="*/ 1286267 h 4851901"/>
              <a:gd name="connsiteX1045" fmla="*/ 2109002 w 4808490"/>
              <a:gd name="connsiteY1045" fmla="*/ 1288020 h 4851901"/>
              <a:gd name="connsiteX1046" fmla="*/ 2114443 w 4808490"/>
              <a:gd name="connsiteY1046" fmla="*/ 1296770 h 4851901"/>
              <a:gd name="connsiteX1047" fmla="*/ 2109998 w 4808490"/>
              <a:gd name="connsiteY1047" fmla="*/ 1297250 h 4851901"/>
              <a:gd name="connsiteX1048" fmla="*/ 2110254 w 4808490"/>
              <a:gd name="connsiteY1048" fmla="*/ 1299641 h 4851901"/>
              <a:gd name="connsiteX1049" fmla="*/ 2056260 w 4808490"/>
              <a:gd name="connsiteY1049" fmla="*/ 1296129 h 4851901"/>
              <a:gd name="connsiteX1050" fmla="*/ 2061785 w 4808490"/>
              <a:gd name="connsiteY1050" fmla="*/ 1302448 h 4851901"/>
              <a:gd name="connsiteX1051" fmla="*/ 2095659 w 4808490"/>
              <a:gd name="connsiteY1051" fmla="*/ 1315047 h 4851901"/>
              <a:gd name="connsiteX1052" fmla="*/ 2039012 w 4808490"/>
              <a:gd name="connsiteY1052" fmla="*/ 1309400 h 4851901"/>
              <a:gd name="connsiteX1053" fmla="*/ 2046847 w 4808490"/>
              <a:gd name="connsiteY1053" fmla="*/ 1317892 h 4851901"/>
              <a:gd name="connsiteX1054" fmla="*/ 2146599 w 4808490"/>
              <a:gd name="connsiteY1054" fmla="*/ 1335142 h 4851901"/>
              <a:gd name="connsiteX1055" fmla="*/ 2154433 w 4808490"/>
              <a:gd name="connsiteY1055" fmla="*/ 1343633 h 4851901"/>
              <a:gd name="connsiteX1056" fmla="*/ 2077787 w 4808490"/>
              <a:gd name="connsiteY1056" fmla="*/ 1344985 h 4851901"/>
              <a:gd name="connsiteX1057" fmla="*/ 2088015 w 4808490"/>
              <a:gd name="connsiteY1057" fmla="*/ 1353218 h 4851901"/>
              <a:gd name="connsiteX1058" fmla="*/ 2095075 w 4808490"/>
              <a:gd name="connsiteY1058" fmla="*/ 1354531 h 4851901"/>
              <a:gd name="connsiteX1059" fmla="*/ 2085843 w 4808490"/>
              <a:gd name="connsiteY1059" fmla="*/ 1355526 h 4851901"/>
              <a:gd name="connsiteX1060" fmla="*/ 2096071 w 4808490"/>
              <a:gd name="connsiteY1060" fmla="*/ 1363760 h 4851901"/>
              <a:gd name="connsiteX1061" fmla="*/ 2124506 w 4808490"/>
              <a:gd name="connsiteY1061" fmla="*/ 1367609 h 4851901"/>
              <a:gd name="connsiteX1062" fmla="*/ 2119321 w 4808490"/>
              <a:gd name="connsiteY1062" fmla="*/ 1361253 h 4851901"/>
              <a:gd name="connsiteX1063" fmla="*/ 2184342 w 4808490"/>
              <a:gd name="connsiteY1063" fmla="*/ 1361156 h 4851901"/>
              <a:gd name="connsiteX1064" fmla="*/ 2196963 w 4808490"/>
              <a:gd name="connsiteY1064" fmla="*/ 1369131 h 4851901"/>
              <a:gd name="connsiteX1065" fmla="*/ 2250874 w 4808490"/>
              <a:gd name="connsiteY1065" fmla="*/ 1375074 h 4851901"/>
              <a:gd name="connsiteX1066" fmla="*/ 2186849 w 4808490"/>
              <a:gd name="connsiteY1066" fmla="*/ 1384399 h 4851901"/>
              <a:gd name="connsiteX1067" fmla="*/ 2194684 w 4808490"/>
              <a:gd name="connsiteY1067" fmla="*/ 1392891 h 4851901"/>
              <a:gd name="connsiteX1068" fmla="*/ 2218330 w 4808490"/>
              <a:gd name="connsiteY1068" fmla="*/ 1397257 h 4851901"/>
              <a:gd name="connsiteX1069" fmla="*/ 2213886 w 4808490"/>
              <a:gd name="connsiteY1069" fmla="*/ 1397736 h 4851901"/>
              <a:gd name="connsiteX1070" fmla="*/ 2154045 w 4808490"/>
              <a:gd name="connsiteY1070" fmla="*/ 1404189 h 4851901"/>
              <a:gd name="connsiteX1071" fmla="*/ 2161881 w 4808490"/>
              <a:gd name="connsiteY1071" fmla="*/ 1412680 h 4851901"/>
              <a:gd name="connsiteX1072" fmla="*/ 2185869 w 4808490"/>
              <a:gd name="connsiteY1072" fmla="*/ 1417009 h 4851901"/>
              <a:gd name="connsiteX1073" fmla="*/ 2159966 w 4808490"/>
              <a:gd name="connsiteY1073" fmla="*/ 1417383 h 4851901"/>
              <a:gd name="connsiteX1074" fmla="*/ 2155042 w 4808490"/>
              <a:gd name="connsiteY1074" fmla="*/ 1413419 h 4851901"/>
              <a:gd name="connsiteX1075" fmla="*/ 2072440 w 4808490"/>
              <a:gd name="connsiteY1075" fmla="*/ 1401234 h 4851901"/>
              <a:gd name="connsiteX1076" fmla="*/ 2135583 w 4808490"/>
              <a:gd name="connsiteY1076" fmla="*/ 1406181 h 4851901"/>
              <a:gd name="connsiteX1077" fmla="*/ 2125355 w 4808490"/>
              <a:gd name="connsiteY1077" fmla="*/ 1397948 h 4851901"/>
              <a:gd name="connsiteX1078" fmla="*/ 2097484 w 4808490"/>
              <a:gd name="connsiteY1078" fmla="*/ 1396111 h 4851901"/>
              <a:gd name="connsiteX1079" fmla="*/ 2087293 w 4808490"/>
              <a:gd name="connsiteY1079" fmla="*/ 1388220 h 4851901"/>
              <a:gd name="connsiteX1080" fmla="*/ 2061476 w 4808490"/>
              <a:gd name="connsiteY1080" fmla="*/ 1386164 h 4851901"/>
              <a:gd name="connsiteX1081" fmla="*/ 2168606 w 4808490"/>
              <a:gd name="connsiteY1081" fmla="*/ 1388441 h 4851901"/>
              <a:gd name="connsiteX1082" fmla="*/ 2158415 w 4808490"/>
              <a:gd name="connsiteY1082" fmla="*/ 1380550 h 4851901"/>
              <a:gd name="connsiteX1083" fmla="*/ 2027996 w 4808490"/>
              <a:gd name="connsiteY1083" fmla="*/ 1380439 h 4851901"/>
              <a:gd name="connsiteX1084" fmla="*/ 2030906 w 4808490"/>
              <a:gd name="connsiteY1084" fmla="*/ 1384967 h 4851901"/>
              <a:gd name="connsiteX1085" fmla="*/ 2016970 w 4808490"/>
              <a:gd name="connsiteY1085" fmla="*/ 1384049 h 4851901"/>
              <a:gd name="connsiteX1086" fmla="*/ 2020101 w 4808490"/>
              <a:gd name="connsiteY1086" fmla="*/ 1390628 h 4851901"/>
              <a:gd name="connsiteX1087" fmla="*/ 1991924 w 4808490"/>
              <a:gd name="connsiteY1087" fmla="*/ 1389170 h 4851901"/>
              <a:gd name="connsiteX1088" fmla="*/ 1999758 w 4808490"/>
              <a:gd name="connsiteY1088" fmla="*/ 1397662 h 4851901"/>
              <a:gd name="connsiteX1089" fmla="*/ 2101307 w 4808490"/>
              <a:gd name="connsiteY1089" fmla="*/ 1412298 h 4851901"/>
              <a:gd name="connsiteX1090" fmla="*/ 2057023 w 4808490"/>
              <a:gd name="connsiteY1090" fmla="*/ 1412233 h 4851901"/>
              <a:gd name="connsiteX1091" fmla="*/ 2065197 w 4808490"/>
              <a:gd name="connsiteY1091" fmla="*/ 1420688 h 4851901"/>
              <a:gd name="connsiteX1092" fmla="*/ 2089102 w 4808490"/>
              <a:gd name="connsiteY1092" fmla="*/ 1427446 h 4851901"/>
              <a:gd name="connsiteX1093" fmla="*/ 2002967 w 4808490"/>
              <a:gd name="connsiteY1093" fmla="*/ 1427400 h 4851901"/>
              <a:gd name="connsiteX1094" fmla="*/ 2013194 w 4808490"/>
              <a:gd name="connsiteY1094" fmla="*/ 1435633 h 4851901"/>
              <a:gd name="connsiteX1095" fmla="*/ 2048467 w 4808490"/>
              <a:gd name="connsiteY1095" fmla="*/ 1438744 h 4851901"/>
              <a:gd name="connsiteX1096" fmla="*/ 2052912 w 4808490"/>
              <a:gd name="connsiteY1096" fmla="*/ 1438265 h 4851901"/>
              <a:gd name="connsiteX1097" fmla="*/ 2067189 w 4808490"/>
              <a:gd name="connsiteY1097" fmla="*/ 1439146 h 4851901"/>
              <a:gd name="connsiteX1098" fmla="*/ 2060007 w 4808490"/>
              <a:gd name="connsiteY1098" fmla="*/ 1439921 h 4851901"/>
              <a:gd name="connsiteX1099" fmla="*/ 2070236 w 4808490"/>
              <a:gd name="connsiteY1099" fmla="*/ 1448153 h 4851901"/>
              <a:gd name="connsiteX1100" fmla="*/ 2120006 w 4808490"/>
              <a:gd name="connsiteY1100" fmla="*/ 1454197 h 4851901"/>
              <a:gd name="connsiteX1101" fmla="*/ 2025155 w 4808490"/>
              <a:gd name="connsiteY1101" fmla="*/ 1459932 h 4851901"/>
              <a:gd name="connsiteX1102" fmla="*/ 2001249 w 4808490"/>
              <a:gd name="connsiteY1102" fmla="*/ 1453174 h 4851901"/>
              <a:gd name="connsiteX1103" fmla="*/ 2035701 w 4808490"/>
              <a:gd name="connsiteY1103" fmla="*/ 1451879 h 4851901"/>
              <a:gd name="connsiteX1104" fmla="*/ 2027866 w 4808490"/>
              <a:gd name="connsiteY1104" fmla="*/ 1443387 h 4851901"/>
              <a:gd name="connsiteX1105" fmla="*/ 1968029 w 4808490"/>
              <a:gd name="connsiteY1105" fmla="*/ 1449842 h 4851901"/>
              <a:gd name="connsiteX1106" fmla="*/ 1975946 w 4808490"/>
              <a:gd name="connsiteY1106" fmla="*/ 1455904 h 4851901"/>
              <a:gd name="connsiteX1107" fmla="*/ 1943462 w 4808490"/>
              <a:gd name="connsiteY1107" fmla="*/ 1459408 h 4851901"/>
              <a:gd name="connsiteX1108" fmla="*/ 1953690 w 4808490"/>
              <a:gd name="connsiteY1108" fmla="*/ 1467640 h 4851901"/>
              <a:gd name="connsiteX1109" fmla="*/ 1958736 w 4808490"/>
              <a:gd name="connsiteY1109" fmla="*/ 1469517 h 4851901"/>
              <a:gd name="connsiteX1110" fmla="*/ 1863367 w 4808490"/>
              <a:gd name="connsiteY1110" fmla="*/ 1470466 h 4851901"/>
              <a:gd name="connsiteX1111" fmla="*/ 1871201 w 4808490"/>
              <a:gd name="connsiteY1111" fmla="*/ 1478958 h 4851901"/>
              <a:gd name="connsiteX1112" fmla="*/ 1864363 w 4808490"/>
              <a:gd name="connsiteY1112" fmla="*/ 1479696 h 4851901"/>
              <a:gd name="connsiteX1113" fmla="*/ 1869545 w 4808490"/>
              <a:gd name="connsiteY1113" fmla="*/ 1486052 h 4851901"/>
              <a:gd name="connsiteX1114" fmla="*/ 1839798 w 4808490"/>
              <a:gd name="connsiteY1114" fmla="*/ 1489261 h 4851901"/>
              <a:gd name="connsiteX1115" fmla="*/ 1844979 w 4808490"/>
              <a:gd name="connsiteY1115" fmla="*/ 1495619 h 4851901"/>
              <a:gd name="connsiteX1116" fmla="*/ 1831044 w 4808490"/>
              <a:gd name="connsiteY1116" fmla="*/ 1494700 h 4851901"/>
              <a:gd name="connsiteX1117" fmla="*/ 1838878 w 4808490"/>
              <a:gd name="connsiteY1117" fmla="*/ 1503193 h 4851901"/>
              <a:gd name="connsiteX1118" fmla="*/ 1857860 w 4808490"/>
              <a:gd name="connsiteY1118" fmla="*/ 1505986 h 4851901"/>
              <a:gd name="connsiteX1119" fmla="*/ 1807044 w 4808490"/>
              <a:gd name="connsiteY1119" fmla="*/ 1507345 h 4851901"/>
              <a:gd name="connsiteX1120" fmla="*/ 1763612 w 4808490"/>
              <a:gd name="connsiteY1120" fmla="*/ 1538102 h 4851901"/>
              <a:gd name="connsiteX1121" fmla="*/ 1711207 w 4808490"/>
              <a:gd name="connsiteY1121" fmla="*/ 1575670 h 4851901"/>
              <a:gd name="connsiteX1122" fmla="*/ 1573923 w 4808490"/>
              <a:gd name="connsiteY1122" fmla="*/ 1685416 h 4851901"/>
              <a:gd name="connsiteX1123" fmla="*/ 1457815 w 4808490"/>
              <a:gd name="connsiteY1123" fmla="*/ 1786174 h 4851901"/>
              <a:gd name="connsiteX1124" fmla="*/ 1360462 w 4808490"/>
              <a:gd name="connsiteY1124" fmla="*/ 1876613 h 4851901"/>
              <a:gd name="connsiteX1125" fmla="*/ 1279055 w 4808490"/>
              <a:gd name="connsiteY1125" fmla="*/ 2021671 h 4851901"/>
              <a:gd name="connsiteX1126" fmla="*/ 1218748 w 4808490"/>
              <a:gd name="connsiteY1126" fmla="*/ 2553793 h 4851901"/>
              <a:gd name="connsiteX1127" fmla="*/ 1277595 w 4808490"/>
              <a:gd name="connsiteY1127" fmla="*/ 2843929 h 4851901"/>
              <a:gd name="connsiteX1128" fmla="*/ 1391699 w 4808490"/>
              <a:gd name="connsiteY1128" fmla="*/ 3088054 h 4851901"/>
              <a:gd name="connsiteX1129" fmla="*/ 1507932 w 4808490"/>
              <a:gd name="connsiteY1129" fmla="*/ 3214086 h 4851901"/>
              <a:gd name="connsiteX1130" fmla="*/ 1637297 w 4808490"/>
              <a:gd name="connsiteY1130" fmla="*/ 3331427 h 4851901"/>
              <a:gd name="connsiteX1131" fmla="*/ 1705047 w 4808490"/>
              <a:gd name="connsiteY1131" fmla="*/ 3402422 h 4851901"/>
              <a:gd name="connsiteX1132" fmla="*/ 1767254 w 4808490"/>
              <a:gd name="connsiteY1132" fmla="*/ 3458864 h 4851901"/>
              <a:gd name="connsiteX1133" fmla="*/ 1916385 w 4808490"/>
              <a:gd name="connsiteY1133" fmla="*/ 3543440 h 4851901"/>
              <a:gd name="connsiteX1134" fmla="*/ 2519663 w 4808490"/>
              <a:gd name="connsiteY1134" fmla="*/ 3651334 h 4851901"/>
              <a:gd name="connsiteX1135" fmla="*/ 3072896 w 4808490"/>
              <a:gd name="connsiteY1135" fmla="*/ 3457393 h 4851901"/>
              <a:gd name="connsiteX1136" fmla="*/ 2737412 w 4808490"/>
              <a:gd name="connsiteY1136" fmla="*/ 3594054 h 4851901"/>
              <a:gd name="connsiteX1137" fmla="*/ 2373043 w 4808490"/>
              <a:gd name="connsiteY1137" fmla="*/ 3622023 h 4851901"/>
              <a:gd name="connsiteX1138" fmla="*/ 2221241 w 4808490"/>
              <a:gd name="connsiteY1138" fmla="*/ 3600417 h 4851901"/>
              <a:gd name="connsiteX1139" fmla="*/ 2026449 w 4808490"/>
              <a:gd name="connsiteY1139" fmla="*/ 3540978 h 4851901"/>
              <a:gd name="connsiteX1140" fmla="*/ 1863958 w 4808490"/>
              <a:gd name="connsiteY1140" fmla="*/ 3461498 h 4851901"/>
              <a:gd name="connsiteX1141" fmla="*/ 1739873 w 4808490"/>
              <a:gd name="connsiteY1141" fmla="*/ 3363761 h 4851901"/>
              <a:gd name="connsiteX1142" fmla="*/ 1777578 w 4808490"/>
              <a:gd name="connsiteY1142" fmla="*/ 3381987 h 4851901"/>
              <a:gd name="connsiteX1143" fmla="*/ 1970192 w 4808490"/>
              <a:gd name="connsiteY1143" fmla="*/ 3487179 h 4851901"/>
              <a:gd name="connsiteX1144" fmla="*/ 2179304 w 4808490"/>
              <a:gd name="connsiteY1144" fmla="*/ 3564110 h 4851901"/>
              <a:gd name="connsiteX1145" fmla="*/ 2521426 w 4808490"/>
              <a:gd name="connsiteY1145" fmla="*/ 3595743 h 4851901"/>
              <a:gd name="connsiteX1146" fmla="*/ 2844331 w 4808490"/>
              <a:gd name="connsiteY1146" fmla="*/ 3528889 h 4851901"/>
              <a:gd name="connsiteX1147" fmla="*/ 3131988 w 4808490"/>
              <a:gd name="connsiteY1147" fmla="*/ 3378360 h 4851901"/>
              <a:gd name="connsiteX1148" fmla="*/ 3231136 w 4808490"/>
              <a:gd name="connsiteY1148" fmla="*/ 3297574 h 4851901"/>
              <a:gd name="connsiteX1149" fmla="*/ 3259664 w 4808490"/>
              <a:gd name="connsiteY1149" fmla="*/ 3252163 h 4851901"/>
              <a:gd name="connsiteX1150" fmla="*/ 3265148 w 4808490"/>
              <a:gd name="connsiteY1150" fmla="*/ 3248704 h 4851901"/>
              <a:gd name="connsiteX1151" fmla="*/ 3245485 w 4808490"/>
              <a:gd name="connsiteY1151" fmla="*/ 3280807 h 4851901"/>
              <a:gd name="connsiteX1152" fmla="*/ 3240371 w 4808490"/>
              <a:gd name="connsiteY1152" fmla="*/ 3290049 h 4851901"/>
              <a:gd name="connsiteX1153" fmla="*/ 3251766 w 4808490"/>
              <a:gd name="connsiteY1153" fmla="*/ 3280765 h 4851901"/>
              <a:gd name="connsiteX1154" fmla="*/ 3285403 w 4808490"/>
              <a:gd name="connsiteY1154" fmla="*/ 3221565 h 4851901"/>
              <a:gd name="connsiteX1155" fmla="*/ 3342871 w 4808490"/>
              <a:gd name="connsiteY1155" fmla="*/ 3131914 h 4851901"/>
              <a:gd name="connsiteX1156" fmla="*/ 3462501 w 4808490"/>
              <a:gd name="connsiteY1156" fmla="*/ 2889278 h 4851901"/>
              <a:gd name="connsiteX1157" fmla="*/ 3476174 w 4808490"/>
              <a:gd name="connsiteY1157" fmla="*/ 2850303 h 4851901"/>
              <a:gd name="connsiteX1158" fmla="*/ 3482033 w 4808490"/>
              <a:gd name="connsiteY1158" fmla="*/ 2840908 h 4851901"/>
              <a:gd name="connsiteX1159" fmla="*/ 3483253 w 4808490"/>
              <a:gd name="connsiteY1159" fmla="*/ 2842660 h 4851901"/>
              <a:gd name="connsiteX1160" fmla="*/ 3478935 w 4808490"/>
              <a:gd name="connsiteY1160" fmla="*/ 2856758 h 4851901"/>
              <a:gd name="connsiteX1161" fmla="*/ 3485218 w 4808490"/>
              <a:gd name="connsiteY1161" fmla="*/ 2844120 h 4851901"/>
              <a:gd name="connsiteX1162" fmla="*/ 3485226 w 4808490"/>
              <a:gd name="connsiteY1162" fmla="*/ 2844127 h 4851901"/>
              <a:gd name="connsiteX1163" fmla="*/ 3485267 w 4808490"/>
              <a:gd name="connsiteY1163" fmla="*/ 2844021 h 4851901"/>
              <a:gd name="connsiteX1164" fmla="*/ 3497709 w 4808490"/>
              <a:gd name="connsiteY1164" fmla="*/ 2818993 h 4851901"/>
              <a:gd name="connsiteX1165" fmla="*/ 3489326 w 4808490"/>
              <a:gd name="connsiteY1165" fmla="*/ 2833453 h 4851901"/>
              <a:gd name="connsiteX1166" fmla="*/ 3485267 w 4808490"/>
              <a:gd name="connsiteY1166" fmla="*/ 2844021 h 4851901"/>
              <a:gd name="connsiteX1167" fmla="*/ 3485218 w 4808490"/>
              <a:gd name="connsiteY1167" fmla="*/ 2844120 h 4851901"/>
              <a:gd name="connsiteX1168" fmla="*/ 3483253 w 4808490"/>
              <a:gd name="connsiteY1168" fmla="*/ 2842660 h 4851901"/>
              <a:gd name="connsiteX1169" fmla="*/ 3501031 w 4808490"/>
              <a:gd name="connsiteY1169" fmla="*/ 2810663 h 4851901"/>
              <a:gd name="connsiteX1170" fmla="*/ 3499594 w 4808490"/>
              <a:gd name="connsiteY1170" fmla="*/ 2818889 h 4851901"/>
              <a:gd name="connsiteX1171" fmla="*/ 3503730 w 4808490"/>
              <a:gd name="connsiteY1171" fmla="*/ 2825231 h 4851901"/>
              <a:gd name="connsiteX1172" fmla="*/ 3493622 w 4808490"/>
              <a:gd name="connsiteY1172" fmla="*/ 2853387 h 4851901"/>
              <a:gd name="connsiteX1173" fmla="*/ 3417596 w 4808490"/>
              <a:gd name="connsiteY1173" fmla="*/ 3035001 h 4851901"/>
              <a:gd name="connsiteX1174" fmla="*/ 3312388 w 4808490"/>
              <a:gd name="connsiteY1174" fmla="*/ 3213500 h 4851901"/>
              <a:gd name="connsiteX1175" fmla="*/ 3309982 w 4808490"/>
              <a:gd name="connsiteY1175" fmla="*/ 3219875 h 4851901"/>
              <a:gd name="connsiteX1176" fmla="*/ 3309802 w 4808490"/>
              <a:gd name="connsiteY1176" fmla="*/ 3220745 h 4851901"/>
              <a:gd name="connsiteX1177" fmla="*/ 3328869 w 4808490"/>
              <a:gd name="connsiteY1177" fmla="*/ 3200350 h 4851901"/>
              <a:gd name="connsiteX1178" fmla="*/ 3350232 w 4808490"/>
              <a:gd name="connsiteY1178" fmla="*/ 3165903 h 4851901"/>
              <a:gd name="connsiteX1179" fmla="*/ 3370219 w 4808490"/>
              <a:gd name="connsiteY1179" fmla="*/ 3130400 h 4851901"/>
              <a:gd name="connsiteX1180" fmla="*/ 3425179 w 4808490"/>
              <a:gd name="connsiteY1180" fmla="*/ 3029588 h 4851901"/>
              <a:gd name="connsiteX1181" fmla="*/ 3504716 w 4808490"/>
              <a:gd name="connsiteY1181" fmla="*/ 2843048 h 4851901"/>
              <a:gd name="connsiteX1182" fmla="*/ 3514622 w 4808490"/>
              <a:gd name="connsiteY1182" fmla="*/ 2816940 h 4851901"/>
              <a:gd name="connsiteX1183" fmla="*/ 3516212 w 4808490"/>
              <a:gd name="connsiteY1183" fmla="*/ 2813497 h 4851901"/>
              <a:gd name="connsiteX1184" fmla="*/ 3516395 w 4808490"/>
              <a:gd name="connsiteY1184" fmla="*/ 2801904 h 4851901"/>
              <a:gd name="connsiteX1185" fmla="*/ 3525276 w 4808490"/>
              <a:gd name="connsiteY1185" fmla="*/ 2751055 h 4851901"/>
              <a:gd name="connsiteX1186" fmla="*/ 3541341 w 4808490"/>
              <a:gd name="connsiteY1186" fmla="*/ 2765093 h 4851901"/>
              <a:gd name="connsiteX1187" fmla="*/ 3546933 w 4808490"/>
              <a:gd name="connsiteY1187" fmla="*/ 2809608 h 4851901"/>
              <a:gd name="connsiteX1188" fmla="*/ 3579911 w 4808490"/>
              <a:gd name="connsiteY1188" fmla="*/ 2650347 h 4851901"/>
              <a:gd name="connsiteX1189" fmla="*/ 3597722 w 4808490"/>
              <a:gd name="connsiteY1189" fmla="*/ 2581055 h 4851901"/>
              <a:gd name="connsiteX1190" fmla="*/ 3601457 w 4808490"/>
              <a:gd name="connsiteY1190" fmla="*/ 2525604 h 4851901"/>
              <a:gd name="connsiteX1191" fmla="*/ 3629957 w 4808490"/>
              <a:gd name="connsiteY1191" fmla="*/ 2615808 h 4851901"/>
              <a:gd name="connsiteX1192" fmla="*/ 3635155 w 4808490"/>
              <a:gd name="connsiteY1192" fmla="*/ 2742347 h 4851901"/>
              <a:gd name="connsiteX1193" fmla="*/ 3650242 w 4808490"/>
              <a:gd name="connsiteY1193" fmla="*/ 2770185 h 4851901"/>
              <a:gd name="connsiteX1194" fmla="*/ 3649683 w 4808490"/>
              <a:gd name="connsiteY1194" fmla="*/ 2817978 h 4851901"/>
              <a:gd name="connsiteX1195" fmla="*/ 3652261 w 4808490"/>
              <a:gd name="connsiteY1195" fmla="*/ 2824203 h 4851901"/>
              <a:gd name="connsiteX1196" fmla="*/ 3652925 w 4808490"/>
              <a:gd name="connsiteY1196" fmla="*/ 2823337 h 4851901"/>
              <a:gd name="connsiteX1197" fmla="*/ 3663121 w 4808490"/>
              <a:gd name="connsiteY1197" fmla="*/ 2811377 h 4851901"/>
              <a:gd name="connsiteX1198" fmla="*/ 3663098 w 4808490"/>
              <a:gd name="connsiteY1198" fmla="*/ 2814035 h 4851901"/>
              <a:gd name="connsiteX1199" fmla="*/ 3662837 w 4808490"/>
              <a:gd name="connsiteY1199" fmla="*/ 2815312 h 4851901"/>
              <a:gd name="connsiteX1200" fmla="*/ 3657044 w 4808490"/>
              <a:gd name="connsiteY1200" fmla="*/ 2824458 h 4851901"/>
              <a:gd name="connsiteX1201" fmla="*/ 3652162 w 4808490"/>
              <a:gd name="connsiteY1201" fmla="*/ 2830579 h 4851901"/>
              <a:gd name="connsiteX1202" fmla="*/ 3624277 w 4808490"/>
              <a:gd name="connsiteY1202" fmla="*/ 2915118 h 4851901"/>
              <a:gd name="connsiteX1203" fmla="*/ 3627831 w 4808490"/>
              <a:gd name="connsiteY1203" fmla="*/ 2912462 h 4851901"/>
              <a:gd name="connsiteX1204" fmla="*/ 3633801 w 4808490"/>
              <a:gd name="connsiteY1204" fmla="*/ 2925457 h 4851901"/>
              <a:gd name="connsiteX1205" fmla="*/ 3632359 w 4808490"/>
              <a:gd name="connsiteY1205" fmla="*/ 2930893 h 4851901"/>
              <a:gd name="connsiteX1206" fmla="*/ 3643852 w 4808490"/>
              <a:gd name="connsiteY1206" fmla="*/ 2923049 h 4851901"/>
              <a:gd name="connsiteX1207" fmla="*/ 3657823 w 4808490"/>
              <a:gd name="connsiteY1207" fmla="*/ 2905840 h 4851901"/>
              <a:gd name="connsiteX1208" fmla="*/ 3659528 w 4808490"/>
              <a:gd name="connsiteY1208" fmla="*/ 2903473 h 4851901"/>
              <a:gd name="connsiteX1209" fmla="*/ 3631257 w 4808490"/>
              <a:gd name="connsiteY1209" fmla="*/ 2975865 h 4851901"/>
              <a:gd name="connsiteX1210" fmla="*/ 3633718 w 4808490"/>
              <a:gd name="connsiteY1210" fmla="*/ 2980460 h 4851901"/>
              <a:gd name="connsiteX1211" fmla="*/ 3659520 w 4808490"/>
              <a:gd name="connsiteY1211" fmla="*/ 2922524 h 4851901"/>
              <a:gd name="connsiteX1212" fmla="*/ 3652226 w 4808490"/>
              <a:gd name="connsiteY1212" fmla="*/ 2947486 h 4851901"/>
              <a:gd name="connsiteX1213" fmla="*/ 3645246 w 4808490"/>
              <a:gd name="connsiteY1213" fmla="*/ 2965378 h 4851901"/>
              <a:gd name="connsiteX1214" fmla="*/ 3643579 w 4808490"/>
              <a:gd name="connsiteY1214" fmla="*/ 2968121 h 4851901"/>
              <a:gd name="connsiteX1215" fmla="*/ 3637539 w 4808490"/>
              <a:gd name="connsiteY1215" fmla="*/ 2980281 h 4851901"/>
              <a:gd name="connsiteX1216" fmla="*/ 3639627 w 4808490"/>
              <a:gd name="connsiteY1216" fmla="*/ 2979729 h 4851901"/>
              <a:gd name="connsiteX1217" fmla="*/ 3633606 w 4808490"/>
              <a:gd name="connsiteY1217" fmla="*/ 2995069 h 4851901"/>
              <a:gd name="connsiteX1218" fmla="*/ 3626134 w 4808490"/>
              <a:gd name="connsiteY1218" fmla="*/ 3020040 h 4851901"/>
              <a:gd name="connsiteX1219" fmla="*/ 3632581 w 4808490"/>
              <a:gd name="connsiteY1219" fmla="*/ 3005392 h 4851901"/>
              <a:gd name="connsiteX1220" fmla="*/ 3645993 w 4808490"/>
              <a:gd name="connsiteY1220" fmla="*/ 2974912 h 4851901"/>
              <a:gd name="connsiteX1221" fmla="*/ 3647888 w 4808490"/>
              <a:gd name="connsiteY1221" fmla="*/ 2973239 h 4851901"/>
              <a:gd name="connsiteX1222" fmla="*/ 3652589 w 4808490"/>
              <a:gd name="connsiteY1222" fmla="*/ 2969638 h 4851901"/>
              <a:gd name="connsiteX1223" fmla="*/ 3633656 w 4808490"/>
              <a:gd name="connsiteY1223" fmla="*/ 3005574 h 4851901"/>
              <a:gd name="connsiteX1224" fmla="*/ 3652271 w 4808490"/>
              <a:gd name="connsiteY1224" fmla="*/ 2979365 h 4851901"/>
              <a:gd name="connsiteX1225" fmla="*/ 3667064 w 4808490"/>
              <a:gd name="connsiteY1225" fmla="*/ 2957099 h 4851901"/>
              <a:gd name="connsiteX1226" fmla="*/ 3669044 w 4808490"/>
              <a:gd name="connsiteY1226" fmla="*/ 2955058 h 4851901"/>
              <a:gd name="connsiteX1227" fmla="*/ 3685118 w 4808490"/>
              <a:gd name="connsiteY1227" fmla="*/ 2878864 h 4851901"/>
              <a:gd name="connsiteX1228" fmla="*/ 3695837 w 4808490"/>
              <a:gd name="connsiteY1228" fmla="*/ 2799841 h 4851901"/>
              <a:gd name="connsiteX1229" fmla="*/ 3715195 w 4808490"/>
              <a:gd name="connsiteY1229" fmla="*/ 2714857 h 4851901"/>
              <a:gd name="connsiteX1230" fmla="*/ 3730601 w 4808490"/>
              <a:gd name="connsiteY1230" fmla="*/ 2725225 h 4851901"/>
              <a:gd name="connsiteX1231" fmla="*/ 3725538 w 4808490"/>
              <a:gd name="connsiteY1231" fmla="*/ 2793967 h 4851901"/>
              <a:gd name="connsiteX1232" fmla="*/ 3722005 w 4808490"/>
              <a:gd name="connsiteY1232" fmla="*/ 2816851 h 4851901"/>
              <a:gd name="connsiteX1233" fmla="*/ 3726483 w 4808490"/>
              <a:gd name="connsiteY1233" fmla="*/ 2810640 h 4851901"/>
              <a:gd name="connsiteX1234" fmla="*/ 3730889 w 4808490"/>
              <a:gd name="connsiteY1234" fmla="*/ 2804912 h 4851901"/>
              <a:gd name="connsiteX1235" fmla="*/ 3729559 w 4808490"/>
              <a:gd name="connsiteY1235" fmla="*/ 2809313 h 4851901"/>
              <a:gd name="connsiteX1236" fmla="*/ 3726213 w 4808490"/>
              <a:gd name="connsiteY1236" fmla="*/ 2821153 h 4851901"/>
              <a:gd name="connsiteX1237" fmla="*/ 3726755 w 4808490"/>
              <a:gd name="connsiteY1237" fmla="*/ 2821030 h 4851901"/>
              <a:gd name="connsiteX1238" fmla="*/ 3719833 w 4808490"/>
              <a:gd name="connsiteY1238" fmla="*/ 2830910 h 4851901"/>
              <a:gd name="connsiteX1239" fmla="*/ 3704702 w 4808490"/>
              <a:gd name="connsiteY1239" fmla="*/ 2928910 h 4851901"/>
              <a:gd name="connsiteX1240" fmla="*/ 3703468 w 4808490"/>
              <a:gd name="connsiteY1240" fmla="*/ 2933529 h 4851901"/>
              <a:gd name="connsiteX1241" fmla="*/ 3703993 w 4808490"/>
              <a:gd name="connsiteY1241" fmla="*/ 2934040 h 4851901"/>
              <a:gd name="connsiteX1242" fmla="*/ 3702738 w 4808490"/>
              <a:gd name="connsiteY1242" fmla="*/ 2936262 h 4851901"/>
              <a:gd name="connsiteX1243" fmla="*/ 3687150 w 4808490"/>
              <a:gd name="connsiteY1243" fmla="*/ 2994599 h 4851901"/>
              <a:gd name="connsiteX1244" fmla="*/ 3687992 w 4808490"/>
              <a:gd name="connsiteY1244" fmla="*/ 2995163 h 4851901"/>
              <a:gd name="connsiteX1245" fmla="*/ 3707768 w 4808490"/>
              <a:gd name="connsiteY1245" fmla="*/ 2963155 h 4851901"/>
              <a:gd name="connsiteX1246" fmla="*/ 3718218 w 4808490"/>
              <a:gd name="connsiteY1246" fmla="*/ 2959236 h 4851901"/>
              <a:gd name="connsiteX1247" fmla="*/ 3742559 w 4808490"/>
              <a:gd name="connsiteY1247" fmla="*/ 2929891 h 4851901"/>
              <a:gd name="connsiteX1248" fmla="*/ 3756165 w 4808490"/>
              <a:gd name="connsiteY1248" fmla="*/ 2910344 h 4851901"/>
              <a:gd name="connsiteX1249" fmla="*/ 3771601 w 4808490"/>
              <a:gd name="connsiteY1249" fmla="*/ 2863428 h 4851901"/>
              <a:gd name="connsiteX1250" fmla="*/ 3790650 w 4808490"/>
              <a:gd name="connsiteY1250" fmla="*/ 2711156 h 4851901"/>
              <a:gd name="connsiteX1251" fmla="*/ 3772771 w 4808490"/>
              <a:gd name="connsiteY1251" fmla="*/ 2605369 h 4851901"/>
              <a:gd name="connsiteX1252" fmla="*/ 3764473 w 4808490"/>
              <a:gd name="connsiteY1252" fmla="*/ 2541722 h 4851901"/>
              <a:gd name="connsiteX1253" fmla="*/ 3762237 w 4808490"/>
              <a:gd name="connsiteY1253" fmla="*/ 2471640 h 4851901"/>
              <a:gd name="connsiteX1254" fmla="*/ 3790318 w 4808490"/>
              <a:gd name="connsiteY1254" fmla="*/ 2530260 h 4851901"/>
              <a:gd name="connsiteX1255" fmla="*/ 3814325 w 4808490"/>
              <a:gd name="connsiteY1255" fmla="*/ 2623191 h 4851901"/>
              <a:gd name="connsiteX1256" fmla="*/ 3813236 w 4808490"/>
              <a:gd name="connsiteY1256" fmla="*/ 2710192 h 4851901"/>
              <a:gd name="connsiteX1257" fmla="*/ 3825730 w 4808490"/>
              <a:gd name="connsiteY1257" fmla="*/ 2581570 h 4851901"/>
              <a:gd name="connsiteX1258" fmla="*/ 3824020 w 4808490"/>
              <a:gd name="connsiteY1258" fmla="*/ 2448126 h 4851901"/>
              <a:gd name="connsiteX1259" fmla="*/ 3783065 w 4808490"/>
              <a:gd name="connsiteY1259" fmla="*/ 2318141 h 4851901"/>
              <a:gd name="connsiteX1260" fmla="*/ 3755515 w 4808490"/>
              <a:gd name="connsiteY1260" fmla="*/ 2244530 h 4851901"/>
              <a:gd name="connsiteX1261" fmla="*/ 3737804 w 4808490"/>
              <a:gd name="connsiteY1261" fmla="*/ 2170503 h 4851901"/>
              <a:gd name="connsiteX1262" fmla="*/ 3772625 w 4808490"/>
              <a:gd name="connsiteY1262" fmla="*/ 2211720 h 4851901"/>
              <a:gd name="connsiteX1263" fmla="*/ 3812845 w 4808490"/>
              <a:gd name="connsiteY1263" fmla="*/ 2285211 h 4851901"/>
              <a:gd name="connsiteX1264" fmla="*/ 3751729 w 4808490"/>
              <a:gd name="connsiteY1264" fmla="*/ 2008666 h 4851901"/>
              <a:gd name="connsiteX1265" fmla="*/ 3745653 w 4808490"/>
              <a:gd name="connsiteY1265" fmla="*/ 1991046 h 4851901"/>
              <a:gd name="connsiteX1266" fmla="*/ 3746228 w 4808490"/>
              <a:gd name="connsiteY1266" fmla="*/ 1991884 h 4851901"/>
              <a:gd name="connsiteX1267" fmla="*/ 3763672 w 4808490"/>
              <a:gd name="connsiteY1267" fmla="*/ 2021993 h 4851901"/>
              <a:gd name="connsiteX1268" fmla="*/ 3765726 w 4808490"/>
              <a:gd name="connsiteY1268" fmla="*/ 2025458 h 4851901"/>
              <a:gd name="connsiteX1269" fmla="*/ 3735805 w 4808490"/>
              <a:gd name="connsiteY1269" fmla="*/ 1922395 h 4851901"/>
              <a:gd name="connsiteX1270" fmla="*/ 3739758 w 4808490"/>
              <a:gd name="connsiteY1270" fmla="*/ 1916381 h 4851901"/>
              <a:gd name="connsiteX1271" fmla="*/ 3768074 w 4808490"/>
              <a:gd name="connsiteY1271" fmla="*/ 1999257 h 4851901"/>
              <a:gd name="connsiteX1272" fmla="*/ 3761131 w 4808490"/>
              <a:gd name="connsiteY1272" fmla="*/ 1964022 h 4851901"/>
              <a:gd name="connsiteX1273" fmla="*/ 3753747 w 4808490"/>
              <a:gd name="connsiteY1273" fmla="*/ 1938550 h 4851901"/>
              <a:gd name="connsiteX1274" fmla="*/ 3751793 w 4808490"/>
              <a:gd name="connsiteY1274" fmla="*/ 1934571 h 4851901"/>
              <a:gd name="connsiteX1275" fmla="*/ 3744992 w 4808490"/>
              <a:gd name="connsiteY1275" fmla="*/ 1917099 h 4851901"/>
              <a:gd name="connsiteX1276" fmla="*/ 3747795 w 4808490"/>
              <a:gd name="connsiteY1276" fmla="*/ 1918116 h 4851901"/>
              <a:gd name="connsiteX1277" fmla="*/ 3741413 w 4808490"/>
              <a:gd name="connsiteY1277" fmla="*/ 1896274 h 4851901"/>
              <a:gd name="connsiteX1278" fmla="*/ 3734228 w 4808490"/>
              <a:gd name="connsiteY1278" fmla="*/ 1861005 h 4851901"/>
              <a:gd name="connsiteX1279" fmla="*/ 3741281 w 4808490"/>
              <a:gd name="connsiteY1279" fmla="*/ 1881948 h 4851901"/>
              <a:gd name="connsiteX1280" fmla="*/ 3755953 w 4808490"/>
              <a:gd name="connsiteY1280" fmla="*/ 1925530 h 4851901"/>
              <a:gd name="connsiteX1281" fmla="*/ 3758352 w 4808490"/>
              <a:gd name="connsiteY1281" fmla="*/ 1928066 h 4851901"/>
              <a:gd name="connsiteX1282" fmla="*/ 3764373 w 4808490"/>
              <a:gd name="connsiteY1282" fmla="*/ 1933600 h 4851901"/>
              <a:gd name="connsiteX1283" fmla="*/ 3742781 w 4808490"/>
              <a:gd name="connsiteY1283" fmla="*/ 1881832 h 4851901"/>
              <a:gd name="connsiteX1284" fmla="*/ 3765139 w 4808490"/>
              <a:gd name="connsiteY1284" fmla="*/ 1920182 h 4851901"/>
              <a:gd name="connsiteX1285" fmla="*/ 3787497 w 4808490"/>
              <a:gd name="connsiteY1285" fmla="*/ 1958531 h 4851901"/>
              <a:gd name="connsiteX1286" fmla="*/ 3785139 w 4808490"/>
              <a:gd name="connsiteY1286" fmla="*/ 1926825 h 4851901"/>
              <a:gd name="connsiteX1287" fmla="*/ 3815413 w 4808490"/>
              <a:gd name="connsiteY1287" fmla="*/ 1970111 h 4851901"/>
              <a:gd name="connsiteX1288" fmla="*/ 3818009 w 4808490"/>
              <a:gd name="connsiteY1288" fmla="*/ 1973853 h 4851901"/>
              <a:gd name="connsiteX1289" fmla="*/ 3819461 w 4808490"/>
              <a:gd name="connsiteY1289" fmla="*/ 1976897 h 4851901"/>
              <a:gd name="connsiteX1290" fmla="*/ 3818940 w 4808490"/>
              <a:gd name="connsiteY1290" fmla="*/ 1975196 h 4851901"/>
              <a:gd name="connsiteX1291" fmla="*/ 3824013 w 4808490"/>
              <a:gd name="connsiteY1291" fmla="*/ 1982508 h 4851901"/>
              <a:gd name="connsiteX1292" fmla="*/ 3825348 w 4808490"/>
              <a:gd name="connsiteY1292" fmla="*/ 1977154 h 4851901"/>
              <a:gd name="connsiteX1293" fmla="*/ 3811823 w 4808490"/>
              <a:gd name="connsiteY1293" fmla="*/ 1951935 h 4851901"/>
              <a:gd name="connsiteX1294" fmla="*/ 3797492 w 4808490"/>
              <a:gd name="connsiteY1294" fmla="*/ 1905105 h 4851901"/>
              <a:gd name="connsiteX1295" fmla="*/ 3793933 w 4808490"/>
              <a:gd name="connsiteY1295" fmla="*/ 1896920 h 4851901"/>
              <a:gd name="connsiteX1296" fmla="*/ 3801062 w 4808490"/>
              <a:gd name="connsiteY1296" fmla="*/ 1906635 h 4851901"/>
              <a:gd name="connsiteX1297" fmla="*/ 3816224 w 4808490"/>
              <a:gd name="connsiteY1297" fmla="*/ 1902879 h 4851901"/>
              <a:gd name="connsiteX1298" fmla="*/ 3839461 w 4808490"/>
              <a:gd name="connsiteY1298" fmla="*/ 1949348 h 4851901"/>
              <a:gd name="connsiteX1299" fmla="*/ 3853348 w 4808490"/>
              <a:gd name="connsiteY1299" fmla="*/ 1956032 h 4851901"/>
              <a:gd name="connsiteX1300" fmla="*/ 3883192 w 4808490"/>
              <a:gd name="connsiteY1300" fmla="*/ 1999405 h 4851901"/>
              <a:gd name="connsiteX1301" fmla="*/ 3940091 w 4808490"/>
              <a:gd name="connsiteY1301" fmla="*/ 2093694 h 4851901"/>
              <a:gd name="connsiteX1302" fmla="*/ 3947106 w 4808490"/>
              <a:gd name="connsiteY1302" fmla="*/ 2108160 h 4851901"/>
              <a:gd name="connsiteX1303" fmla="*/ 3971033 w 4808490"/>
              <a:gd name="connsiteY1303" fmla="*/ 2203038 h 4851901"/>
              <a:gd name="connsiteX1304" fmla="*/ 4010953 w 4808490"/>
              <a:gd name="connsiteY1304" fmla="*/ 2578238 h 4851901"/>
              <a:gd name="connsiteX1305" fmla="*/ 4017989 w 4808490"/>
              <a:gd name="connsiteY1305" fmla="*/ 2301506 h 4851901"/>
              <a:gd name="connsiteX1306" fmla="*/ 4009463 w 4808490"/>
              <a:gd name="connsiteY1306" fmla="*/ 2170142 h 4851901"/>
              <a:gd name="connsiteX1307" fmla="*/ 4008159 w 4808490"/>
              <a:gd name="connsiteY1307" fmla="*/ 2088916 h 4851901"/>
              <a:gd name="connsiteX1308" fmla="*/ 4036145 w 4808490"/>
              <a:gd name="connsiteY1308" fmla="*/ 2120226 h 4851901"/>
              <a:gd name="connsiteX1309" fmla="*/ 4057951 w 4808490"/>
              <a:gd name="connsiteY1309" fmla="*/ 2145302 h 4851901"/>
              <a:gd name="connsiteX1310" fmla="*/ 4060892 w 4808490"/>
              <a:gd name="connsiteY1310" fmla="*/ 2139472 h 4851901"/>
              <a:gd name="connsiteX1311" fmla="*/ 4062585 w 4808490"/>
              <a:gd name="connsiteY1311" fmla="*/ 2145562 h 4851901"/>
              <a:gd name="connsiteX1312" fmla="*/ 4066051 w 4808490"/>
              <a:gd name="connsiteY1312" fmla="*/ 2156280 h 4851901"/>
              <a:gd name="connsiteX1313" fmla="*/ 4087604 w 4808490"/>
              <a:gd name="connsiteY1313" fmla="*/ 2187129 h 4851901"/>
              <a:gd name="connsiteX1314" fmla="*/ 4089787 w 4808490"/>
              <a:gd name="connsiteY1314" fmla="*/ 2185060 h 4851901"/>
              <a:gd name="connsiteX1315" fmla="*/ 4090701 w 4808490"/>
              <a:gd name="connsiteY1315" fmla="*/ 2189187 h 4851901"/>
              <a:gd name="connsiteX1316" fmla="*/ 4094545 w 4808490"/>
              <a:gd name="connsiteY1316" fmla="*/ 2197063 h 4851901"/>
              <a:gd name="connsiteX1317" fmla="*/ 4110652 w 4808490"/>
              <a:gd name="connsiteY1317" fmla="*/ 2220121 h 4851901"/>
              <a:gd name="connsiteX1318" fmla="*/ 4108049 w 4808490"/>
              <a:gd name="connsiteY1318" fmla="*/ 2210434 h 4851901"/>
              <a:gd name="connsiteX1319" fmla="*/ 4114765 w 4808490"/>
              <a:gd name="connsiteY1319" fmla="*/ 2208453 h 4851901"/>
              <a:gd name="connsiteX1320" fmla="*/ 4101157 w 4808490"/>
              <a:gd name="connsiteY1320" fmla="*/ 2182952 h 4851901"/>
              <a:gd name="connsiteX1321" fmla="*/ 4118998 w 4808490"/>
              <a:gd name="connsiteY1321" fmla="*/ 2206987 h 4851901"/>
              <a:gd name="connsiteX1322" fmla="*/ 4116073 w 4808490"/>
              <a:gd name="connsiteY1322" fmla="*/ 2191602 h 4851901"/>
              <a:gd name="connsiteX1323" fmla="*/ 4115218 w 4808490"/>
              <a:gd name="connsiteY1323" fmla="*/ 2184975 h 4851901"/>
              <a:gd name="connsiteX1324" fmla="*/ 4063979 w 4808490"/>
              <a:gd name="connsiteY1324" fmla="*/ 2105241 h 4851901"/>
              <a:gd name="connsiteX1325" fmla="*/ 4062180 w 4808490"/>
              <a:gd name="connsiteY1325" fmla="*/ 2102104 h 4851901"/>
              <a:gd name="connsiteX1326" fmla="*/ 4059022 w 4808490"/>
              <a:gd name="connsiteY1326" fmla="*/ 2078381 h 4851901"/>
              <a:gd name="connsiteX1327" fmla="*/ 4055111 w 4808490"/>
              <a:gd name="connsiteY1327" fmla="*/ 2058508 h 4851901"/>
              <a:gd name="connsiteX1328" fmla="*/ 4057275 w 4808490"/>
              <a:gd name="connsiteY1328" fmla="*/ 2062087 h 4851901"/>
              <a:gd name="connsiteX1329" fmla="*/ 4066086 w 4808490"/>
              <a:gd name="connsiteY1329" fmla="*/ 2073189 h 4851901"/>
              <a:gd name="connsiteX1330" fmla="*/ 4079611 w 4808490"/>
              <a:gd name="connsiteY1330" fmla="*/ 2077746 h 4851901"/>
              <a:gd name="connsiteX1331" fmla="*/ 4081927 w 4808490"/>
              <a:gd name="connsiteY1331" fmla="*/ 2080854 h 4851901"/>
              <a:gd name="connsiteX1332" fmla="*/ 4083256 w 4808490"/>
              <a:gd name="connsiteY1332" fmla="*/ 2084044 h 4851901"/>
              <a:gd name="connsiteX1333" fmla="*/ 4081978 w 4808490"/>
              <a:gd name="connsiteY1333" fmla="*/ 2082459 h 4851901"/>
              <a:gd name="connsiteX1334" fmla="*/ 4080218 w 4808490"/>
              <a:gd name="connsiteY1334" fmla="*/ 2080555 h 4851901"/>
              <a:gd name="connsiteX1335" fmla="*/ 4084951 w 4808490"/>
              <a:gd name="connsiteY1335" fmla="*/ 2088108 h 4851901"/>
              <a:gd name="connsiteX1336" fmla="*/ 4099207 w 4808490"/>
              <a:gd name="connsiteY1336" fmla="*/ 2099934 h 4851901"/>
              <a:gd name="connsiteX1337" fmla="*/ 4064668 w 4808490"/>
              <a:gd name="connsiteY1337" fmla="*/ 2043996 h 4851901"/>
              <a:gd name="connsiteX1338" fmla="*/ 4065433 w 4808490"/>
              <a:gd name="connsiteY1338" fmla="*/ 2030579 h 4851901"/>
              <a:gd name="connsiteX1339" fmla="*/ 4040386 w 4808490"/>
              <a:gd name="connsiteY1339" fmla="*/ 1976492 h 4851901"/>
              <a:gd name="connsiteX1340" fmla="*/ 4037747 w 4808490"/>
              <a:gd name="connsiteY1340" fmla="*/ 1972091 h 4851901"/>
              <a:gd name="connsiteX1341" fmla="*/ 4037459 w 4808490"/>
              <a:gd name="connsiteY1341" fmla="*/ 1970584 h 4851901"/>
              <a:gd name="connsiteX1342" fmla="*/ 4035198 w 4808490"/>
              <a:gd name="connsiteY1342" fmla="*/ 1944798 h 4851901"/>
              <a:gd name="connsiteX1343" fmla="*/ 4038903 w 4808490"/>
              <a:gd name="connsiteY1343" fmla="*/ 1932829 h 4851901"/>
              <a:gd name="connsiteX1344" fmla="*/ 4048904 w 4808490"/>
              <a:gd name="connsiteY1344" fmla="*/ 1948719 h 4851901"/>
              <a:gd name="connsiteX1345" fmla="*/ 4056752 w 4808490"/>
              <a:gd name="connsiteY1345" fmla="*/ 1961869 h 4851901"/>
              <a:gd name="connsiteX1346" fmla="*/ 4086456 w 4808490"/>
              <a:gd name="connsiteY1346" fmla="*/ 2007408 h 4851901"/>
              <a:gd name="connsiteX1347" fmla="*/ 4092381 w 4808490"/>
              <a:gd name="connsiteY1347" fmla="*/ 2016403 h 4851901"/>
              <a:gd name="connsiteX1348" fmla="*/ 4093301 w 4808490"/>
              <a:gd name="connsiteY1348" fmla="*/ 2018577 h 4851901"/>
              <a:gd name="connsiteX1349" fmla="*/ 4113306 w 4808490"/>
              <a:gd name="connsiteY1349" fmla="*/ 2073348 h 4851901"/>
              <a:gd name="connsiteX1350" fmla="*/ 4132812 w 4808490"/>
              <a:gd name="connsiteY1350" fmla="*/ 2083137 h 4851901"/>
              <a:gd name="connsiteX1351" fmla="*/ 4181017 w 4808490"/>
              <a:gd name="connsiteY1351" fmla="*/ 2323617 h 4851901"/>
              <a:gd name="connsiteX1352" fmla="*/ 4187031 w 4808490"/>
              <a:gd name="connsiteY1352" fmla="*/ 2271467 h 4851901"/>
              <a:gd name="connsiteX1353" fmla="*/ 4204152 w 4808490"/>
              <a:gd name="connsiteY1353" fmla="*/ 2244650 h 4851901"/>
              <a:gd name="connsiteX1354" fmla="*/ 4222973 w 4808490"/>
              <a:gd name="connsiteY1354" fmla="*/ 2345285 h 4851901"/>
              <a:gd name="connsiteX1355" fmla="*/ 4228431 w 4808490"/>
              <a:gd name="connsiteY1355" fmla="*/ 2493395 h 4851901"/>
              <a:gd name="connsiteX1356" fmla="*/ 4242594 w 4808490"/>
              <a:gd name="connsiteY1356" fmla="*/ 2538370 h 4851901"/>
              <a:gd name="connsiteX1357" fmla="*/ 4250520 w 4808490"/>
              <a:gd name="connsiteY1357" fmla="*/ 2589524 h 4851901"/>
              <a:gd name="connsiteX1358" fmla="*/ 4261424 w 4808490"/>
              <a:gd name="connsiteY1358" fmla="*/ 2388499 h 4851901"/>
              <a:gd name="connsiteX1359" fmla="*/ 4283299 w 4808490"/>
              <a:gd name="connsiteY1359" fmla="*/ 2316401 h 4851901"/>
              <a:gd name="connsiteX1360" fmla="*/ 4300029 w 4808490"/>
              <a:gd name="connsiteY1360" fmla="*/ 2484105 h 4851901"/>
              <a:gd name="connsiteX1361" fmla="*/ 4295542 w 4808490"/>
              <a:gd name="connsiteY1361" fmla="*/ 2608702 h 4851901"/>
              <a:gd name="connsiteX1362" fmla="*/ 4294855 w 4808490"/>
              <a:gd name="connsiteY1362" fmla="*/ 2617095 h 4851901"/>
              <a:gd name="connsiteX1363" fmla="*/ 4299882 w 4808490"/>
              <a:gd name="connsiteY1363" fmla="*/ 2608663 h 4851901"/>
              <a:gd name="connsiteX1364" fmla="*/ 4304032 w 4808490"/>
              <a:gd name="connsiteY1364" fmla="*/ 2602499 h 4851901"/>
              <a:gd name="connsiteX1365" fmla="*/ 4303967 w 4808490"/>
              <a:gd name="connsiteY1365" fmla="*/ 2602928 h 4851901"/>
              <a:gd name="connsiteX1366" fmla="*/ 4294512 w 4808490"/>
              <a:gd name="connsiteY1366" fmla="*/ 2640641 h 4851901"/>
              <a:gd name="connsiteX1367" fmla="*/ 4302869 w 4808490"/>
              <a:gd name="connsiteY1367" fmla="*/ 2619594 h 4851901"/>
              <a:gd name="connsiteX1368" fmla="*/ 4307555 w 4808490"/>
              <a:gd name="connsiteY1368" fmla="*/ 2601543 h 4851901"/>
              <a:gd name="connsiteX1369" fmla="*/ 4309930 w 4808490"/>
              <a:gd name="connsiteY1369" fmla="*/ 2593739 h 4851901"/>
              <a:gd name="connsiteX1370" fmla="*/ 4325149 w 4808490"/>
              <a:gd name="connsiteY1370" fmla="*/ 2571133 h 4851901"/>
              <a:gd name="connsiteX1371" fmla="*/ 4326756 w 4808490"/>
              <a:gd name="connsiteY1371" fmla="*/ 2572603 h 4851901"/>
              <a:gd name="connsiteX1372" fmla="*/ 4327367 w 4808490"/>
              <a:gd name="connsiteY1372" fmla="*/ 2569604 h 4851901"/>
              <a:gd name="connsiteX1373" fmla="*/ 4329529 w 4808490"/>
              <a:gd name="connsiteY1373" fmla="*/ 2564971 h 4851901"/>
              <a:gd name="connsiteX1374" fmla="*/ 4331129 w 4808490"/>
              <a:gd name="connsiteY1374" fmla="*/ 2506751 h 4851901"/>
              <a:gd name="connsiteX1375" fmla="*/ 4328933 w 4808490"/>
              <a:gd name="connsiteY1375" fmla="*/ 2385782 h 4851901"/>
              <a:gd name="connsiteX1376" fmla="*/ 4333745 w 4808490"/>
              <a:gd name="connsiteY1376" fmla="*/ 2237336 h 4851901"/>
              <a:gd name="connsiteX1377" fmla="*/ 4371765 w 4808490"/>
              <a:gd name="connsiteY1377" fmla="*/ 2371221 h 4851901"/>
              <a:gd name="connsiteX1378" fmla="*/ 4373861 w 4808490"/>
              <a:gd name="connsiteY1378" fmla="*/ 2624774 h 4851901"/>
              <a:gd name="connsiteX1379" fmla="*/ 4373671 w 4808490"/>
              <a:gd name="connsiteY1379" fmla="*/ 2627020 h 4851901"/>
              <a:gd name="connsiteX1380" fmla="*/ 4380499 w 4808490"/>
              <a:gd name="connsiteY1380" fmla="*/ 2616257 h 4851901"/>
              <a:gd name="connsiteX1381" fmla="*/ 4384099 w 4808490"/>
              <a:gd name="connsiteY1381" fmla="*/ 2610596 h 4851901"/>
              <a:gd name="connsiteX1382" fmla="*/ 4383608 w 4808490"/>
              <a:gd name="connsiteY1382" fmla="*/ 2617806 h 4851901"/>
              <a:gd name="connsiteX1383" fmla="*/ 4383666 w 4808490"/>
              <a:gd name="connsiteY1383" fmla="*/ 2620317 h 4851901"/>
              <a:gd name="connsiteX1384" fmla="*/ 4373028 w 4808490"/>
              <a:gd name="connsiteY1384" fmla="*/ 2638291 h 4851901"/>
              <a:gd name="connsiteX1385" fmla="*/ 4372673 w 4808490"/>
              <a:gd name="connsiteY1385" fmla="*/ 2638842 h 4851901"/>
              <a:gd name="connsiteX1386" fmla="*/ 4363665 w 4808490"/>
              <a:gd name="connsiteY1386" fmla="*/ 2745490 h 4851901"/>
              <a:gd name="connsiteX1387" fmla="*/ 4366825 w 4808490"/>
              <a:gd name="connsiteY1387" fmla="*/ 2740750 h 4851901"/>
              <a:gd name="connsiteX1388" fmla="*/ 4366371 w 4808490"/>
              <a:gd name="connsiteY1388" fmla="*/ 2742418 h 4851901"/>
              <a:gd name="connsiteX1389" fmla="*/ 4362663 w 4808490"/>
              <a:gd name="connsiteY1389" fmla="*/ 2756270 h 4851901"/>
              <a:gd name="connsiteX1390" fmla="*/ 4362107 w 4808490"/>
              <a:gd name="connsiteY1390" fmla="*/ 2757225 h 4851901"/>
              <a:gd name="connsiteX1391" fmla="*/ 4355852 w 4808490"/>
              <a:gd name="connsiteY1391" fmla="*/ 2803298 h 4851901"/>
              <a:gd name="connsiteX1392" fmla="*/ 4361705 w 4808490"/>
              <a:gd name="connsiteY1392" fmla="*/ 2785996 h 4851901"/>
              <a:gd name="connsiteX1393" fmla="*/ 4365651 w 4808490"/>
              <a:gd name="connsiteY1393" fmla="*/ 2789275 h 4851901"/>
              <a:gd name="connsiteX1394" fmla="*/ 4364423 w 4808490"/>
              <a:gd name="connsiteY1394" fmla="*/ 2795777 h 4851901"/>
              <a:gd name="connsiteX1395" fmla="*/ 4364879 w 4808490"/>
              <a:gd name="connsiteY1395" fmla="*/ 2795067 h 4851901"/>
              <a:gd name="connsiteX1396" fmla="*/ 4373998 w 4808490"/>
              <a:gd name="connsiteY1396" fmla="*/ 2740180 h 4851901"/>
              <a:gd name="connsiteX1397" fmla="*/ 4389425 w 4808490"/>
              <a:gd name="connsiteY1397" fmla="*/ 2607657 h 4851901"/>
              <a:gd name="connsiteX1398" fmla="*/ 4389406 w 4808490"/>
              <a:gd name="connsiteY1398" fmla="*/ 2323421 h 4851901"/>
              <a:gd name="connsiteX1399" fmla="*/ 4376714 w 4808490"/>
              <a:gd name="connsiteY1399" fmla="*/ 2119180 h 4851901"/>
              <a:gd name="connsiteX1400" fmla="*/ 4407031 w 4808490"/>
              <a:gd name="connsiteY1400" fmla="*/ 2157131 h 4851901"/>
              <a:gd name="connsiteX1401" fmla="*/ 4437920 w 4808490"/>
              <a:gd name="connsiteY1401" fmla="*/ 2540439 h 4851901"/>
              <a:gd name="connsiteX1402" fmla="*/ 4426431 w 4808490"/>
              <a:gd name="connsiteY1402" fmla="*/ 2709242 h 4851901"/>
              <a:gd name="connsiteX1403" fmla="*/ 4433457 w 4808490"/>
              <a:gd name="connsiteY1403" fmla="*/ 2680641 h 4851901"/>
              <a:gd name="connsiteX1404" fmla="*/ 4442028 w 4808490"/>
              <a:gd name="connsiteY1404" fmla="*/ 2660889 h 4851901"/>
              <a:gd name="connsiteX1405" fmla="*/ 4440658 w 4808490"/>
              <a:gd name="connsiteY1405" fmla="*/ 2667459 h 4851901"/>
              <a:gd name="connsiteX1406" fmla="*/ 4436141 w 4808490"/>
              <a:gd name="connsiteY1406" fmla="*/ 2676044 h 4851901"/>
              <a:gd name="connsiteX1407" fmla="*/ 4433310 w 4808490"/>
              <a:gd name="connsiteY1407" fmla="*/ 2683588 h 4851901"/>
              <a:gd name="connsiteX1408" fmla="*/ 4436734 w 4808490"/>
              <a:gd name="connsiteY1408" fmla="*/ 2682686 h 4851901"/>
              <a:gd name="connsiteX1409" fmla="*/ 4436085 w 4808490"/>
              <a:gd name="connsiteY1409" fmla="*/ 2684998 h 4851901"/>
              <a:gd name="connsiteX1410" fmla="*/ 4434142 w 4808490"/>
              <a:gd name="connsiteY1410" fmla="*/ 2708184 h 4851901"/>
              <a:gd name="connsiteX1411" fmla="*/ 4442538 w 4808490"/>
              <a:gd name="connsiteY1411" fmla="*/ 2675697 h 4851901"/>
              <a:gd name="connsiteX1412" fmla="*/ 4443122 w 4808490"/>
              <a:gd name="connsiteY1412" fmla="*/ 2673676 h 4851901"/>
              <a:gd name="connsiteX1413" fmla="*/ 4443294 w 4808490"/>
              <a:gd name="connsiteY1413" fmla="*/ 2673428 h 4851901"/>
              <a:gd name="connsiteX1414" fmla="*/ 4446600 w 4808490"/>
              <a:gd name="connsiteY1414" fmla="*/ 2667438 h 4851901"/>
              <a:gd name="connsiteX1415" fmla="*/ 4436541 w 4808490"/>
              <a:gd name="connsiteY1415" fmla="*/ 2714074 h 4851901"/>
              <a:gd name="connsiteX1416" fmla="*/ 4419198 w 4808490"/>
              <a:gd name="connsiteY1416" fmla="*/ 2786418 h 4851901"/>
              <a:gd name="connsiteX1417" fmla="*/ 4416474 w 4808490"/>
              <a:gd name="connsiteY1417" fmla="*/ 2795108 h 4851901"/>
              <a:gd name="connsiteX1418" fmla="*/ 4421062 w 4808490"/>
              <a:gd name="connsiteY1418" fmla="*/ 2786113 h 4851901"/>
              <a:gd name="connsiteX1419" fmla="*/ 4457307 w 4808490"/>
              <a:gd name="connsiteY1419" fmla="*/ 2656792 h 4851901"/>
              <a:gd name="connsiteX1420" fmla="*/ 4422929 w 4808490"/>
              <a:gd name="connsiteY1420" fmla="*/ 2797508 h 4851901"/>
              <a:gd name="connsiteX1421" fmla="*/ 4420612 w 4808490"/>
              <a:gd name="connsiteY1421" fmla="*/ 2808923 h 4851901"/>
              <a:gd name="connsiteX1422" fmla="*/ 4420592 w 4808490"/>
              <a:gd name="connsiteY1422" fmla="*/ 2810535 h 4851901"/>
              <a:gd name="connsiteX1423" fmla="*/ 4420897 w 4808490"/>
              <a:gd name="connsiteY1423" fmla="*/ 2809976 h 4851901"/>
              <a:gd name="connsiteX1424" fmla="*/ 4422341 w 4808490"/>
              <a:gd name="connsiteY1424" fmla="*/ 2807441 h 4851901"/>
              <a:gd name="connsiteX1425" fmla="*/ 4420548 w 4808490"/>
              <a:gd name="connsiteY1425" fmla="*/ 2814041 h 4851901"/>
              <a:gd name="connsiteX1426" fmla="*/ 4420537 w 4808490"/>
              <a:gd name="connsiteY1426" fmla="*/ 2814951 h 4851901"/>
              <a:gd name="connsiteX1427" fmla="*/ 4422338 w 4808490"/>
              <a:gd name="connsiteY1427" fmla="*/ 2817282 h 4851901"/>
              <a:gd name="connsiteX1428" fmla="*/ 4428831 w 4808490"/>
              <a:gd name="connsiteY1428" fmla="*/ 2796542 h 4851901"/>
              <a:gd name="connsiteX1429" fmla="*/ 4446052 w 4808490"/>
              <a:gd name="connsiteY1429" fmla="*/ 2734155 h 4851901"/>
              <a:gd name="connsiteX1430" fmla="*/ 4433650 w 4808490"/>
              <a:gd name="connsiteY1430" fmla="*/ 2787974 h 4851901"/>
              <a:gd name="connsiteX1431" fmla="*/ 4423107 w 4808490"/>
              <a:gd name="connsiteY1431" fmla="*/ 2829621 h 4851901"/>
              <a:gd name="connsiteX1432" fmla="*/ 4424368 w 4808490"/>
              <a:gd name="connsiteY1432" fmla="*/ 2826383 h 4851901"/>
              <a:gd name="connsiteX1433" fmla="*/ 4419782 w 4808490"/>
              <a:gd name="connsiteY1433" fmla="*/ 2851982 h 4851901"/>
              <a:gd name="connsiteX1434" fmla="*/ 4418911 w 4808490"/>
              <a:gd name="connsiteY1434" fmla="*/ 2855196 h 4851901"/>
              <a:gd name="connsiteX1435" fmla="*/ 4432297 w 4808490"/>
              <a:gd name="connsiteY1435" fmla="*/ 2810523 h 4851901"/>
              <a:gd name="connsiteX1436" fmla="*/ 4467670 w 4808490"/>
              <a:gd name="connsiteY1436" fmla="*/ 2644408 h 4851901"/>
              <a:gd name="connsiteX1437" fmla="*/ 4482047 w 4808490"/>
              <a:gd name="connsiteY1437" fmla="*/ 2238110 h 4851901"/>
              <a:gd name="connsiteX1438" fmla="*/ 4462825 w 4808490"/>
              <a:gd name="connsiteY1438" fmla="*/ 2091251 h 4851901"/>
              <a:gd name="connsiteX1439" fmla="*/ 4447270 w 4808490"/>
              <a:gd name="connsiteY1439" fmla="*/ 1986111 h 4851901"/>
              <a:gd name="connsiteX1440" fmla="*/ 4486029 w 4808490"/>
              <a:gd name="connsiteY1440" fmla="*/ 2005862 h 4851901"/>
              <a:gd name="connsiteX1441" fmla="*/ 4465493 w 4808490"/>
              <a:gd name="connsiteY1441" fmla="*/ 1911043 h 4851901"/>
              <a:gd name="connsiteX1442" fmla="*/ 4477422 w 4808490"/>
              <a:gd name="connsiteY1442" fmla="*/ 1931967 h 4851901"/>
              <a:gd name="connsiteX1443" fmla="*/ 4502263 w 4808490"/>
              <a:gd name="connsiteY1443" fmla="*/ 1968993 h 4851901"/>
              <a:gd name="connsiteX1444" fmla="*/ 4508137 w 4808490"/>
              <a:gd name="connsiteY1444" fmla="*/ 1977404 h 4851901"/>
              <a:gd name="connsiteX1445" fmla="*/ 4508039 w 4808490"/>
              <a:gd name="connsiteY1445" fmla="*/ 1976814 h 4851901"/>
              <a:gd name="connsiteX1446" fmla="*/ 4494086 w 4808490"/>
              <a:gd name="connsiteY1446" fmla="*/ 1924968 h 4851901"/>
              <a:gd name="connsiteX1447" fmla="*/ 4506124 w 4808490"/>
              <a:gd name="connsiteY1447" fmla="*/ 1953828 h 4851901"/>
              <a:gd name="connsiteX1448" fmla="*/ 4513024 w 4808490"/>
              <a:gd name="connsiteY1448" fmla="*/ 1978642 h 4851901"/>
              <a:gd name="connsiteX1449" fmla="*/ 4516490 w 4808490"/>
              <a:gd name="connsiteY1449" fmla="*/ 1989359 h 4851901"/>
              <a:gd name="connsiteX1450" fmla="*/ 4538043 w 4808490"/>
              <a:gd name="connsiteY1450" fmla="*/ 2020210 h 4851901"/>
              <a:gd name="connsiteX1451" fmla="*/ 4540227 w 4808490"/>
              <a:gd name="connsiteY1451" fmla="*/ 2018139 h 4851901"/>
              <a:gd name="connsiteX1452" fmla="*/ 4541142 w 4808490"/>
              <a:gd name="connsiteY1452" fmla="*/ 2022267 h 4851901"/>
              <a:gd name="connsiteX1453" fmla="*/ 4544984 w 4808490"/>
              <a:gd name="connsiteY1453" fmla="*/ 2030144 h 4851901"/>
              <a:gd name="connsiteX1454" fmla="*/ 4561091 w 4808490"/>
              <a:gd name="connsiteY1454" fmla="*/ 2053201 h 4851901"/>
              <a:gd name="connsiteX1455" fmla="*/ 4558488 w 4808490"/>
              <a:gd name="connsiteY1455" fmla="*/ 2043513 h 4851901"/>
              <a:gd name="connsiteX1456" fmla="*/ 4560295 w 4808490"/>
              <a:gd name="connsiteY1456" fmla="*/ 2042979 h 4851901"/>
              <a:gd name="connsiteX1457" fmla="*/ 4581605 w 4808490"/>
              <a:gd name="connsiteY1457" fmla="*/ 2151997 h 4851901"/>
              <a:gd name="connsiteX1458" fmla="*/ 4609017 w 4808490"/>
              <a:gd name="connsiteY1458" fmla="*/ 2531855 h 4851901"/>
              <a:gd name="connsiteX1459" fmla="*/ 4602994 w 4808490"/>
              <a:gd name="connsiteY1459" fmla="*/ 2661174 h 4851901"/>
              <a:gd name="connsiteX1460" fmla="*/ 4589608 w 4808490"/>
              <a:gd name="connsiteY1460" fmla="*/ 2788014 h 4851901"/>
              <a:gd name="connsiteX1461" fmla="*/ 4595282 w 4808490"/>
              <a:gd name="connsiteY1461" fmla="*/ 2778964 h 4851901"/>
              <a:gd name="connsiteX1462" fmla="*/ 4628109 w 4808490"/>
              <a:gd name="connsiteY1462" fmla="*/ 2723891 h 4851901"/>
              <a:gd name="connsiteX1463" fmla="*/ 4632257 w 4808490"/>
              <a:gd name="connsiteY1463" fmla="*/ 2717728 h 4851901"/>
              <a:gd name="connsiteX1464" fmla="*/ 4632194 w 4808490"/>
              <a:gd name="connsiteY1464" fmla="*/ 2718156 h 4851901"/>
              <a:gd name="connsiteX1465" fmla="*/ 4622738 w 4808490"/>
              <a:gd name="connsiteY1465" fmla="*/ 2755870 h 4851901"/>
              <a:gd name="connsiteX1466" fmla="*/ 4631096 w 4808490"/>
              <a:gd name="connsiteY1466" fmla="*/ 2734823 h 4851901"/>
              <a:gd name="connsiteX1467" fmla="*/ 4635781 w 4808490"/>
              <a:gd name="connsiteY1467" fmla="*/ 2716771 h 4851901"/>
              <a:gd name="connsiteX1468" fmla="*/ 4638156 w 4808490"/>
              <a:gd name="connsiteY1468" fmla="*/ 2708967 h 4851901"/>
              <a:gd name="connsiteX1469" fmla="*/ 4647146 w 4808490"/>
              <a:gd name="connsiteY1469" fmla="*/ 2695613 h 4851901"/>
              <a:gd name="connsiteX1470" fmla="*/ 4656585 w 4808490"/>
              <a:gd name="connsiteY1470" fmla="*/ 2609957 h 4851901"/>
              <a:gd name="connsiteX1471" fmla="*/ 4664062 w 4808490"/>
              <a:gd name="connsiteY1471" fmla="*/ 2483366 h 4851901"/>
              <a:gd name="connsiteX1472" fmla="*/ 4636158 w 4808490"/>
              <a:gd name="connsiteY1472" fmla="*/ 2024499 h 4851901"/>
              <a:gd name="connsiteX1473" fmla="*/ 4613862 w 4808490"/>
              <a:gd name="connsiteY1473" fmla="*/ 1846012 h 4851901"/>
              <a:gd name="connsiteX1474" fmla="*/ 4676852 w 4808490"/>
              <a:gd name="connsiteY1474" fmla="*/ 2004663 h 4851901"/>
              <a:gd name="connsiteX1475" fmla="*/ 4706823 w 4808490"/>
              <a:gd name="connsiteY1475" fmla="*/ 2154604 h 4851901"/>
              <a:gd name="connsiteX1476" fmla="*/ 4725662 w 4808490"/>
              <a:gd name="connsiteY1476" fmla="*/ 2282978 h 4851901"/>
              <a:gd name="connsiteX1477" fmla="*/ 4710526 w 4808490"/>
              <a:gd name="connsiteY1477" fmla="*/ 2107799 h 4851901"/>
              <a:gd name="connsiteX1478" fmla="*/ 4665485 w 4808490"/>
              <a:gd name="connsiteY1478" fmla="*/ 1877883 h 4851901"/>
              <a:gd name="connsiteX1479" fmla="*/ 4623872 w 4808490"/>
              <a:gd name="connsiteY1479" fmla="*/ 1720563 h 4851901"/>
              <a:gd name="connsiteX1480" fmla="*/ 4614683 w 4808490"/>
              <a:gd name="connsiteY1480" fmla="*/ 1687888 h 4851901"/>
              <a:gd name="connsiteX1481" fmla="*/ 4615568 w 4808490"/>
              <a:gd name="connsiteY1481" fmla="*/ 1688921 h 4851901"/>
              <a:gd name="connsiteX1482" fmla="*/ 4614903 w 4808490"/>
              <a:gd name="connsiteY1482" fmla="*/ 1682185 h 4851901"/>
              <a:gd name="connsiteX1483" fmla="*/ 4612029 w 4808490"/>
              <a:gd name="connsiteY1483" fmla="*/ 1677050 h 4851901"/>
              <a:gd name="connsiteX1484" fmla="*/ 4602293 w 4808490"/>
              <a:gd name="connsiteY1484" fmla="*/ 1632413 h 4851901"/>
              <a:gd name="connsiteX1485" fmla="*/ 4600618 w 4808490"/>
              <a:gd name="connsiteY1485" fmla="*/ 1628283 h 4851901"/>
              <a:gd name="connsiteX1486" fmla="*/ 4596768 w 4808490"/>
              <a:gd name="connsiteY1486" fmla="*/ 1618220 h 4851901"/>
              <a:gd name="connsiteX1487" fmla="*/ 4595562 w 4808490"/>
              <a:gd name="connsiteY1487" fmla="*/ 1612952 h 4851901"/>
              <a:gd name="connsiteX1488" fmla="*/ 4593409 w 4808490"/>
              <a:gd name="connsiteY1488" fmla="*/ 1595638 h 4851901"/>
              <a:gd name="connsiteX1489" fmla="*/ 4594752 w 4808490"/>
              <a:gd name="connsiteY1489" fmla="*/ 1597618 h 4851901"/>
              <a:gd name="connsiteX1490" fmla="*/ 4610365 w 4808490"/>
              <a:gd name="connsiteY1490" fmla="*/ 1649341 h 4851901"/>
              <a:gd name="connsiteX1491" fmla="*/ 4655932 w 4808490"/>
              <a:gd name="connsiteY1491" fmla="*/ 1803587 h 4851901"/>
              <a:gd name="connsiteX1492" fmla="*/ 4668351 w 4808490"/>
              <a:gd name="connsiteY1492" fmla="*/ 1832870 h 4851901"/>
              <a:gd name="connsiteX1493" fmla="*/ 4654019 w 4808490"/>
              <a:gd name="connsiteY1493" fmla="*/ 1780601 h 4851901"/>
              <a:gd name="connsiteX1494" fmla="*/ 4617214 w 4808490"/>
              <a:gd name="connsiteY1494" fmla="*/ 1641551 h 4851901"/>
              <a:gd name="connsiteX1495" fmla="*/ 4615513 w 4808490"/>
              <a:gd name="connsiteY1495" fmla="*/ 1632147 h 4851901"/>
              <a:gd name="connsiteX1496" fmla="*/ 4639029 w 4808490"/>
              <a:gd name="connsiteY1496" fmla="*/ 1696743 h 4851901"/>
              <a:gd name="connsiteX1497" fmla="*/ 4684976 w 4808490"/>
              <a:gd name="connsiteY1497" fmla="*/ 1866428 h 4851901"/>
              <a:gd name="connsiteX1498" fmla="*/ 4697278 w 4808490"/>
              <a:gd name="connsiteY1498" fmla="*/ 1893494 h 4851901"/>
              <a:gd name="connsiteX1499" fmla="*/ 4695231 w 4808490"/>
              <a:gd name="connsiteY1499" fmla="*/ 1884456 h 4851901"/>
              <a:gd name="connsiteX1500" fmla="*/ 4688789 w 4808490"/>
              <a:gd name="connsiteY1500" fmla="*/ 1872712 h 4851901"/>
              <a:gd name="connsiteX1501" fmla="*/ 4684702 w 4808490"/>
              <a:gd name="connsiteY1501" fmla="*/ 1862361 h 4851901"/>
              <a:gd name="connsiteX1502" fmla="*/ 4689450 w 4808490"/>
              <a:gd name="connsiteY1502" fmla="*/ 1863525 h 4851901"/>
              <a:gd name="connsiteX1503" fmla="*/ 4688500 w 4808490"/>
              <a:gd name="connsiteY1503" fmla="*/ 1860350 h 4851901"/>
              <a:gd name="connsiteX1504" fmla="*/ 4685263 w 4808490"/>
              <a:gd name="connsiteY1504" fmla="*/ 1828382 h 4851901"/>
              <a:gd name="connsiteX1505" fmla="*/ 4697631 w 4808490"/>
              <a:gd name="connsiteY1505" fmla="*/ 1873037 h 4851901"/>
              <a:gd name="connsiteX1506" fmla="*/ 4698487 w 4808490"/>
              <a:gd name="connsiteY1506" fmla="*/ 1875815 h 4851901"/>
              <a:gd name="connsiteX1507" fmla="*/ 4698729 w 4808490"/>
              <a:gd name="connsiteY1507" fmla="*/ 1876152 h 4851901"/>
              <a:gd name="connsiteX1508" fmla="*/ 4703435 w 4808490"/>
              <a:gd name="connsiteY1508" fmla="*/ 1884343 h 4851901"/>
              <a:gd name="connsiteX1509" fmla="*/ 4688437 w 4808490"/>
              <a:gd name="connsiteY1509" fmla="*/ 1820192 h 4851901"/>
              <a:gd name="connsiteX1510" fmla="*/ 4662767 w 4808490"/>
              <a:gd name="connsiteY1510" fmla="*/ 1720719 h 4851901"/>
              <a:gd name="connsiteX1511" fmla="*/ 4658799 w 4808490"/>
              <a:gd name="connsiteY1511" fmla="*/ 1708787 h 4851901"/>
              <a:gd name="connsiteX1512" fmla="*/ 4665348 w 4808490"/>
              <a:gd name="connsiteY1512" fmla="*/ 1721098 h 4851901"/>
              <a:gd name="connsiteX1513" fmla="*/ 4718473 w 4808490"/>
              <a:gd name="connsiteY1513" fmla="*/ 1898790 h 4851901"/>
              <a:gd name="connsiteX1514" fmla="*/ 4695853 w 4808490"/>
              <a:gd name="connsiteY1514" fmla="*/ 1804385 h 4851901"/>
              <a:gd name="connsiteX1515" fmla="*/ 4676022 w 4808490"/>
              <a:gd name="connsiteY1515" fmla="*/ 1734717 h 4851901"/>
              <a:gd name="connsiteX1516" fmla="*/ 4693119 w 4808490"/>
              <a:gd name="connsiteY1516" fmla="*/ 1780436 h 4851901"/>
              <a:gd name="connsiteX1517" fmla="*/ 4745814 w 4808490"/>
              <a:gd name="connsiteY1517" fmla="*/ 1969820 h 4851901"/>
              <a:gd name="connsiteX1518" fmla="*/ 4778641 w 4808490"/>
              <a:gd name="connsiteY1518" fmla="*/ 2142913 h 4851901"/>
              <a:gd name="connsiteX1519" fmla="*/ 4803182 w 4808490"/>
              <a:gd name="connsiteY1519" fmla="*/ 2669727 h 4851901"/>
              <a:gd name="connsiteX1520" fmla="*/ 4697993 w 4808490"/>
              <a:gd name="connsiteY1520" fmla="*/ 3216698 h 4851901"/>
              <a:gd name="connsiteX1521" fmla="*/ 4466309 w 4808490"/>
              <a:gd name="connsiteY1521" fmla="*/ 3723846 h 4851901"/>
              <a:gd name="connsiteX1522" fmla="*/ 4139843 w 4808490"/>
              <a:gd name="connsiteY1522" fmla="*/ 4145284 h 4851901"/>
              <a:gd name="connsiteX1523" fmla="*/ 4177236 w 4808490"/>
              <a:gd name="connsiteY1523" fmla="*/ 4138602 h 4851901"/>
              <a:gd name="connsiteX1524" fmla="*/ 3913038 w 4808490"/>
              <a:gd name="connsiteY1524" fmla="*/ 4369314 h 4851901"/>
              <a:gd name="connsiteX1525" fmla="*/ 3335063 w 4808490"/>
              <a:gd name="connsiteY1525" fmla="*/ 4686083 h 4851901"/>
              <a:gd name="connsiteX1526" fmla="*/ 2641447 w 4808490"/>
              <a:gd name="connsiteY1526" fmla="*/ 4844536 h 4851901"/>
              <a:gd name="connsiteX1527" fmla="*/ 1914144 w 4808490"/>
              <a:gd name="connsiteY1527" fmla="*/ 4792236 h 4851901"/>
              <a:gd name="connsiteX1528" fmla="*/ 1243383 w 4808490"/>
              <a:gd name="connsiteY1528" fmla="*/ 4528415 h 4851901"/>
              <a:gd name="connsiteX1529" fmla="*/ 912614 w 4808490"/>
              <a:gd name="connsiteY1529" fmla="*/ 4296947 h 4851901"/>
              <a:gd name="connsiteX1530" fmla="*/ 643004 w 4808490"/>
              <a:gd name="connsiteY1530" fmla="*/ 4040520 h 4851901"/>
              <a:gd name="connsiteX1531" fmla="*/ 434218 w 4808490"/>
              <a:gd name="connsiteY1531" fmla="*/ 3786365 h 4851901"/>
              <a:gd name="connsiteX1532" fmla="*/ 256080 w 4808490"/>
              <a:gd name="connsiteY1532" fmla="*/ 3494558 h 4851901"/>
              <a:gd name="connsiteX1533" fmla="*/ 27933 w 4808490"/>
              <a:gd name="connsiteY1533" fmla="*/ 2785764 h 4851901"/>
              <a:gd name="connsiteX1534" fmla="*/ 6345 w 4808490"/>
              <a:gd name="connsiteY1534" fmla="*/ 2231553 h 4851901"/>
              <a:gd name="connsiteX1535" fmla="*/ 24861 w 4808490"/>
              <a:gd name="connsiteY1535" fmla="*/ 2054759 h 4851901"/>
              <a:gd name="connsiteX1536" fmla="*/ 345724 w 4808490"/>
              <a:gd name="connsiteY1536" fmla="*/ 1182314 h 4851901"/>
              <a:gd name="connsiteX1537" fmla="*/ 1035959 w 4808490"/>
              <a:gd name="connsiteY1537" fmla="*/ 444569 h 4851901"/>
              <a:gd name="connsiteX1538" fmla="*/ 1962245 w 4808490"/>
              <a:gd name="connsiteY1538" fmla="*/ 43413 h 4851901"/>
              <a:gd name="connsiteX1539" fmla="*/ 2296827 w 4808490"/>
              <a:gd name="connsiteY1539" fmla="*/ 0 h 48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Lst>
            <a:rect l="l" t="t" r="r" b="b"/>
            <a:pathLst>
              <a:path w="4808490" h="4851901">
                <a:moveTo>
                  <a:pt x="4524295" y="3640834"/>
                </a:moveTo>
                <a:lnTo>
                  <a:pt x="4528630" y="3641986"/>
                </a:lnTo>
                <a:cubicBezTo>
                  <a:pt x="4527825" y="3642915"/>
                  <a:pt x="4526349" y="3643156"/>
                  <a:pt x="4525271" y="3642901"/>
                </a:cubicBezTo>
                <a:cubicBezTo>
                  <a:pt x="4524191" y="3642646"/>
                  <a:pt x="4523510" y="3641894"/>
                  <a:pt x="4524295" y="3640834"/>
                </a:cubicBezTo>
                <a:close/>
                <a:moveTo>
                  <a:pt x="3558607" y="3144414"/>
                </a:moveTo>
                <a:cubicBezTo>
                  <a:pt x="3558607" y="3144414"/>
                  <a:pt x="3556720" y="3144518"/>
                  <a:pt x="3556910" y="3147924"/>
                </a:cubicBezTo>
                <a:cubicBezTo>
                  <a:pt x="3553084" y="3152868"/>
                  <a:pt x="3547701" y="3158158"/>
                  <a:pt x="3542179" y="3166613"/>
                </a:cubicBezTo>
                <a:cubicBezTo>
                  <a:pt x="3541024" y="3171407"/>
                  <a:pt x="3532653" y="3186802"/>
                  <a:pt x="3533280" y="3188504"/>
                </a:cubicBezTo>
                <a:cubicBezTo>
                  <a:pt x="3533489" y="3189072"/>
                  <a:pt x="3534698" y="3188118"/>
                  <a:pt x="3537506" y="3184742"/>
                </a:cubicBezTo>
                <a:cubicBezTo>
                  <a:pt x="3544413" y="3172796"/>
                  <a:pt x="3553446" y="3159417"/>
                  <a:pt x="3556910" y="3147924"/>
                </a:cubicBezTo>
                <a:cubicBezTo>
                  <a:pt x="3557802" y="3146956"/>
                  <a:pt x="3558720" y="3146445"/>
                  <a:pt x="3559167" y="3145993"/>
                </a:cubicBezTo>
                <a:cubicBezTo>
                  <a:pt x="3559391" y="3145766"/>
                  <a:pt x="3559498" y="3145556"/>
                  <a:pt x="3559425" y="3145310"/>
                </a:cubicBezTo>
                <a:cubicBezTo>
                  <a:pt x="3559352" y="3145062"/>
                  <a:pt x="3559100" y="3144780"/>
                  <a:pt x="3558607" y="3144414"/>
                </a:cubicBezTo>
                <a:close/>
                <a:moveTo>
                  <a:pt x="3570237" y="3143771"/>
                </a:moveTo>
                <a:cubicBezTo>
                  <a:pt x="3568177" y="3140730"/>
                  <a:pt x="3557619" y="3160763"/>
                  <a:pt x="3555820" y="3162440"/>
                </a:cubicBezTo>
                <a:cubicBezTo>
                  <a:pt x="3553958" y="3165828"/>
                  <a:pt x="3550747" y="3170474"/>
                  <a:pt x="3548025" y="3174699"/>
                </a:cubicBezTo>
                <a:cubicBezTo>
                  <a:pt x="3545303" y="3178923"/>
                  <a:pt x="3543070" y="3182726"/>
                  <a:pt x="3543164" y="3184430"/>
                </a:cubicBezTo>
                <a:cubicBezTo>
                  <a:pt x="3547133" y="3191338"/>
                  <a:pt x="3566329" y="3154947"/>
                  <a:pt x="3569802" y="3145811"/>
                </a:cubicBezTo>
                <a:cubicBezTo>
                  <a:pt x="3570297" y="3144506"/>
                  <a:pt x="3570474" y="3143757"/>
                  <a:pt x="3570237" y="3143771"/>
                </a:cubicBezTo>
                <a:close/>
                <a:moveTo>
                  <a:pt x="3582807" y="3120209"/>
                </a:moveTo>
                <a:cubicBezTo>
                  <a:pt x="3581092" y="3119121"/>
                  <a:pt x="3574626" y="3128349"/>
                  <a:pt x="3571537" y="3133695"/>
                </a:cubicBezTo>
                <a:cubicBezTo>
                  <a:pt x="3570508" y="3135475"/>
                  <a:pt x="3569854" y="3136826"/>
                  <a:pt x="3569875" y="3137220"/>
                </a:cubicBezTo>
                <a:cubicBezTo>
                  <a:pt x="3571496" y="3140875"/>
                  <a:pt x="3579078" y="3130452"/>
                  <a:pt x="3581929" y="3124281"/>
                </a:cubicBezTo>
                <a:cubicBezTo>
                  <a:pt x="3582404" y="3123253"/>
                  <a:pt x="3582748" y="3122343"/>
                  <a:pt x="3582910" y="3121636"/>
                </a:cubicBezTo>
                <a:cubicBezTo>
                  <a:pt x="3583074" y="3120929"/>
                  <a:pt x="3583054" y="3120424"/>
                  <a:pt x="3582807" y="3120209"/>
                </a:cubicBezTo>
                <a:close/>
                <a:moveTo>
                  <a:pt x="3583575" y="3099194"/>
                </a:moveTo>
                <a:cubicBezTo>
                  <a:pt x="3583209" y="3098996"/>
                  <a:pt x="3581569" y="3100698"/>
                  <a:pt x="3577907" y="3105761"/>
                </a:cubicBezTo>
                <a:cubicBezTo>
                  <a:pt x="3577907" y="3105761"/>
                  <a:pt x="3572525" y="3111053"/>
                  <a:pt x="3572613" y="3112626"/>
                </a:cubicBezTo>
                <a:cubicBezTo>
                  <a:pt x="3573877" y="3116252"/>
                  <a:pt x="3580028" y="3107216"/>
                  <a:pt x="3582561" y="3102222"/>
                </a:cubicBezTo>
                <a:cubicBezTo>
                  <a:pt x="3583406" y="3100557"/>
                  <a:pt x="3583849" y="3099342"/>
                  <a:pt x="3583575" y="3099194"/>
                </a:cubicBezTo>
                <a:close/>
                <a:moveTo>
                  <a:pt x="3375830" y="3089352"/>
                </a:moveTo>
                <a:cubicBezTo>
                  <a:pt x="3375656" y="3086208"/>
                  <a:pt x="3371657" y="3088005"/>
                  <a:pt x="3371743" y="3089578"/>
                </a:cubicBezTo>
                <a:cubicBezTo>
                  <a:pt x="3371787" y="3090364"/>
                  <a:pt x="3372809" y="3090308"/>
                  <a:pt x="3373819" y="3090054"/>
                </a:cubicBezTo>
                <a:cubicBezTo>
                  <a:pt x="3374830" y="3089801"/>
                  <a:pt x="3375830" y="3089352"/>
                  <a:pt x="3375830" y="3089352"/>
                </a:cubicBezTo>
                <a:close/>
                <a:moveTo>
                  <a:pt x="3610693" y="3060056"/>
                </a:moveTo>
                <a:cubicBezTo>
                  <a:pt x="3606945" y="3063549"/>
                  <a:pt x="3605184" y="3067325"/>
                  <a:pt x="3603467" y="3071921"/>
                </a:cubicBezTo>
                <a:cubicBezTo>
                  <a:pt x="3601751" y="3076516"/>
                  <a:pt x="3600080" y="3081931"/>
                  <a:pt x="3596513" y="3088700"/>
                </a:cubicBezTo>
                <a:cubicBezTo>
                  <a:pt x="3594801" y="3091949"/>
                  <a:pt x="3578270" y="3112312"/>
                  <a:pt x="3582633" y="3117064"/>
                </a:cubicBezTo>
                <a:cubicBezTo>
                  <a:pt x="3584520" y="3116960"/>
                  <a:pt x="3588015" y="3111772"/>
                  <a:pt x="3588015" y="3111772"/>
                </a:cubicBezTo>
                <a:cubicBezTo>
                  <a:pt x="3598747" y="3094884"/>
                  <a:pt x="3605533" y="3075059"/>
                  <a:pt x="3610693" y="3060056"/>
                </a:cubicBezTo>
                <a:close/>
                <a:moveTo>
                  <a:pt x="3449807" y="3045599"/>
                </a:moveTo>
                <a:cubicBezTo>
                  <a:pt x="3448261" y="3045581"/>
                  <a:pt x="3442707" y="3052706"/>
                  <a:pt x="3440321" y="3058186"/>
                </a:cubicBezTo>
                <a:lnTo>
                  <a:pt x="3434131" y="3070230"/>
                </a:lnTo>
                <a:lnTo>
                  <a:pt x="3449796" y="3046116"/>
                </a:lnTo>
                <a:close/>
                <a:moveTo>
                  <a:pt x="3616371" y="3044431"/>
                </a:moveTo>
                <a:cubicBezTo>
                  <a:pt x="3615124" y="3044697"/>
                  <a:pt x="3613653" y="3045173"/>
                  <a:pt x="3613653" y="3045173"/>
                </a:cubicBezTo>
                <a:cubicBezTo>
                  <a:pt x="3613697" y="3045960"/>
                  <a:pt x="3614740" y="3046296"/>
                  <a:pt x="3615761" y="3046239"/>
                </a:cubicBezTo>
                <a:cubicBezTo>
                  <a:pt x="3616783" y="3046183"/>
                  <a:pt x="3617782" y="3045734"/>
                  <a:pt x="3617740" y="3044947"/>
                </a:cubicBezTo>
                <a:cubicBezTo>
                  <a:pt x="3618639" y="3044109"/>
                  <a:pt x="3617617" y="3044165"/>
                  <a:pt x="3616371" y="3044431"/>
                </a:cubicBezTo>
                <a:close/>
                <a:moveTo>
                  <a:pt x="3628876" y="2992135"/>
                </a:moveTo>
                <a:cubicBezTo>
                  <a:pt x="3629056" y="2990570"/>
                  <a:pt x="3628483" y="2989849"/>
                  <a:pt x="3626498" y="2992423"/>
                </a:cubicBezTo>
                <a:cubicBezTo>
                  <a:pt x="3626585" y="2993995"/>
                  <a:pt x="3624699" y="2994100"/>
                  <a:pt x="3624786" y="2995673"/>
                </a:cubicBezTo>
                <a:cubicBezTo>
                  <a:pt x="3625348" y="2997283"/>
                  <a:pt x="3626068" y="2997457"/>
                  <a:pt x="3626747" y="2996919"/>
                </a:cubicBezTo>
                <a:cubicBezTo>
                  <a:pt x="3627256" y="2996515"/>
                  <a:pt x="3627744" y="2995711"/>
                  <a:pt x="3628127" y="2994810"/>
                </a:cubicBezTo>
                <a:cubicBezTo>
                  <a:pt x="3628509" y="2993911"/>
                  <a:pt x="3628787" y="2992917"/>
                  <a:pt x="3628876" y="2992135"/>
                </a:cubicBezTo>
                <a:close/>
                <a:moveTo>
                  <a:pt x="3663280" y="2973333"/>
                </a:moveTo>
                <a:cubicBezTo>
                  <a:pt x="3663280" y="2973333"/>
                  <a:pt x="3662251" y="2973424"/>
                  <a:pt x="3661349" y="2973505"/>
                </a:cubicBezTo>
                <a:lnTo>
                  <a:pt x="3661205" y="2973519"/>
                </a:lnTo>
                <a:lnTo>
                  <a:pt x="3660239" y="2973605"/>
                </a:lnTo>
                <a:cubicBezTo>
                  <a:pt x="3659996" y="2973627"/>
                  <a:pt x="3659933" y="2973633"/>
                  <a:pt x="3660189" y="2973610"/>
                </a:cubicBezTo>
                <a:lnTo>
                  <a:pt x="3661205" y="2973519"/>
                </a:lnTo>
                <a:close/>
                <a:moveTo>
                  <a:pt x="3747426" y="2936900"/>
                </a:moveTo>
                <a:lnTo>
                  <a:pt x="3739395" y="2951247"/>
                </a:lnTo>
                <a:cubicBezTo>
                  <a:pt x="3735246" y="2957134"/>
                  <a:pt x="3729933" y="2964048"/>
                  <a:pt x="3724267" y="2971928"/>
                </a:cubicBezTo>
                <a:cubicBezTo>
                  <a:pt x="3721946" y="2976428"/>
                  <a:pt x="3712639" y="2989532"/>
                  <a:pt x="3707033" y="2998606"/>
                </a:cubicBezTo>
                <a:cubicBezTo>
                  <a:pt x="3701429" y="3007680"/>
                  <a:pt x="3699528" y="3012723"/>
                  <a:pt x="3712020" y="3001102"/>
                </a:cubicBezTo>
                <a:cubicBezTo>
                  <a:pt x="3714782" y="2997071"/>
                  <a:pt x="3725358" y="2983530"/>
                  <a:pt x="3731825" y="2975508"/>
                </a:cubicBezTo>
                <a:lnTo>
                  <a:pt x="3734209" y="2972627"/>
                </a:lnTo>
                <a:lnTo>
                  <a:pt x="3745659" y="2942268"/>
                </a:lnTo>
                <a:close/>
                <a:moveTo>
                  <a:pt x="3678005" y="2909238"/>
                </a:moveTo>
                <a:cubicBezTo>
                  <a:pt x="3675243" y="2919658"/>
                  <a:pt x="3669170" y="2929442"/>
                  <a:pt x="3662519" y="2939088"/>
                </a:cubicBezTo>
                <a:lnTo>
                  <a:pt x="3660453" y="2942050"/>
                </a:lnTo>
                <a:lnTo>
                  <a:pt x="3673995" y="2911277"/>
                </a:lnTo>
                <a:lnTo>
                  <a:pt x="3675187" y="2910258"/>
                </a:lnTo>
                <a:cubicBezTo>
                  <a:pt x="3677065" y="2908882"/>
                  <a:pt x="3678246" y="2908332"/>
                  <a:pt x="3678005" y="2909238"/>
                </a:cubicBezTo>
                <a:close/>
                <a:moveTo>
                  <a:pt x="4399585" y="2898798"/>
                </a:moveTo>
                <a:lnTo>
                  <a:pt x="4399002" y="2899410"/>
                </a:lnTo>
                <a:cubicBezTo>
                  <a:pt x="4399257" y="2900964"/>
                  <a:pt x="4397392" y="2901270"/>
                  <a:pt x="4397647" y="2902824"/>
                </a:cubicBezTo>
                <a:lnTo>
                  <a:pt x="4398603" y="2903990"/>
                </a:lnTo>
                <a:lnTo>
                  <a:pt x="4399751" y="2899253"/>
                </a:lnTo>
                <a:close/>
                <a:moveTo>
                  <a:pt x="3516040" y="2878889"/>
                </a:moveTo>
                <a:lnTo>
                  <a:pt x="3495921" y="2942619"/>
                </a:lnTo>
                <a:cubicBezTo>
                  <a:pt x="3485955" y="2969781"/>
                  <a:pt x="3474285" y="2996776"/>
                  <a:pt x="3460110" y="3022660"/>
                </a:cubicBezTo>
                <a:cubicBezTo>
                  <a:pt x="3458011" y="3024617"/>
                  <a:pt x="3456387" y="3029437"/>
                  <a:pt x="3454776" y="3034520"/>
                </a:cubicBezTo>
                <a:cubicBezTo>
                  <a:pt x="3488538" y="2931694"/>
                  <a:pt x="3453279" y="3016809"/>
                  <a:pt x="3452933" y="3038139"/>
                </a:cubicBezTo>
                <a:lnTo>
                  <a:pt x="3453785" y="3039812"/>
                </a:lnTo>
                <a:lnTo>
                  <a:pt x="3475148" y="2999739"/>
                </a:lnTo>
                <a:lnTo>
                  <a:pt x="3476064" y="2997597"/>
                </a:lnTo>
                <a:cubicBezTo>
                  <a:pt x="3484642" y="2975965"/>
                  <a:pt x="3494150" y="2952639"/>
                  <a:pt x="3503670" y="2929509"/>
                </a:cubicBezTo>
                <a:lnTo>
                  <a:pt x="3509190" y="2916161"/>
                </a:lnTo>
                <a:lnTo>
                  <a:pt x="3516073" y="2882610"/>
                </a:lnTo>
                <a:close/>
                <a:moveTo>
                  <a:pt x="4413555" y="2873071"/>
                </a:moveTo>
                <a:lnTo>
                  <a:pt x="4413389" y="2873421"/>
                </a:lnTo>
                <a:cubicBezTo>
                  <a:pt x="4409939" y="2880929"/>
                  <a:pt x="4408645" y="2884709"/>
                  <a:pt x="4408683" y="2886158"/>
                </a:cubicBezTo>
                <a:lnTo>
                  <a:pt x="4409276" y="2885931"/>
                </a:lnTo>
                <a:lnTo>
                  <a:pt x="4411898" y="2878595"/>
                </a:lnTo>
                <a:close/>
                <a:moveTo>
                  <a:pt x="4352899" y="2867169"/>
                </a:moveTo>
                <a:lnTo>
                  <a:pt x="4347409" y="2886321"/>
                </a:lnTo>
                <a:cubicBezTo>
                  <a:pt x="4347558" y="2887228"/>
                  <a:pt x="4345945" y="2892477"/>
                  <a:pt x="4344762" y="2897425"/>
                </a:cubicBezTo>
                <a:lnTo>
                  <a:pt x="4344105" y="2901106"/>
                </a:lnTo>
                <a:lnTo>
                  <a:pt x="4346839" y="2893635"/>
                </a:lnTo>
                <a:lnTo>
                  <a:pt x="4352604" y="2868946"/>
                </a:lnTo>
                <a:close/>
                <a:moveTo>
                  <a:pt x="3515782" y="2850466"/>
                </a:moveTo>
                <a:lnTo>
                  <a:pt x="3508227" y="2872291"/>
                </a:lnTo>
                <a:cubicBezTo>
                  <a:pt x="3489672" y="2924437"/>
                  <a:pt x="3468048" y="2975241"/>
                  <a:pt x="3443901" y="3024609"/>
                </a:cubicBezTo>
                <a:lnTo>
                  <a:pt x="3372555" y="3153621"/>
                </a:lnTo>
                <a:lnTo>
                  <a:pt x="3372988" y="3153158"/>
                </a:lnTo>
                <a:lnTo>
                  <a:pt x="3396446" y="3123591"/>
                </a:lnTo>
                <a:lnTo>
                  <a:pt x="3439594" y="3045085"/>
                </a:lnTo>
                <a:cubicBezTo>
                  <a:pt x="3454595" y="3014161"/>
                  <a:pt x="3468100" y="2983321"/>
                  <a:pt x="3481344" y="2952691"/>
                </a:cubicBezTo>
                <a:lnTo>
                  <a:pt x="3515995" y="2874072"/>
                </a:lnTo>
                <a:close/>
                <a:moveTo>
                  <a:pt x="3483065" y="2839254"/>
                </a:moveTo>
                <a:lnTo>
                  <a:pt x="3482033" y="2840908"/>
                </a:lnTo>
                <a:lnTo>
                  <a:pt x="3481711" y="2840446"/>
                </a:lnTo>
                <a:cubicBezTo>
                  <a:pt x="3481676" y="2839790"/>
                  <a:pt x="3482122" y="2839306"/>
                  <a:pt x="3483065" y="2839254"/>
                </a:cubicBezTo>
                <a:close/>
                <a:moveTo>
                  <a:pt x="4628312" y="2824786"/>
                </a:moveTo>
                <a:lnTo>
                  <a:pt x="4621821" y="2839463"/>
                </a:lnTo>
                <a:cubicBezTo>
                  <a:pt x="4618733" y="2845201"/>
                  <a:pt x="4590970" y="2891850"/>
                  <a:pt x="4590687" y="2893702"/>
                </a:cubicBezTo>
                <a:cubicBezTo>
                  <a:pt x="4592592" y="2895686"/>
                  <a:pt x="4602564" y="2890674"/>
                  <a:pt x="4605083" y="2888643"/>
                </a:cubicBezTo>
                <a:cubicBezTo>
                  <a:pt x="4607840" y="2885067"/>
                  <a:pt x="4626636" y="2851283"/>
                  <a:pt x="4616522" y="2874055"/>
                </a:cubicBezTo>
                <a:cubicBezTo>
                  <a:pt x="4611163" y="2886202"/>
                  <a:pt x="4614725" y="2881583"/>
                  <a:pt x="4620012" y="2873212"/>
                </a:cubicBezTo>
                <a:lnTo>
                  <a:pt x="4620305" y="2872726"/>
                </a:lnTo>
                <a:lnTo>
                  <a:pt x="4620842" y="2870311"/>
                </a:lnTo>
                <a:close/>
                <a:moveTo>
                  <a:pt x="4421224" y="2824112"/>
                </a:moveTo>
                <a:cubicBezTo>
                  <a:pt x="4420948" y="2822429"/>
                  <a:pt x="4419551" y="2822658"/>
                  <a:pt x="4418354" y="2824117"/>
                </a:cubicBezTo>
                <a:lnTo>
                  <a:pt x="4417128" y="2826624"/>
                </a:lnTo>
                <a:lnTo>
                  <a:pt x="4416855" y="2827633"/>
                </a:lnTo>
                <a:lnTo>
                  <a:pt x="4416693" y="2831502"/>
                </a:lnTo>
                <a:cubicBezTo>
                  <a:pt x="4416883" y="2832669"/>
                  <a:pt x="4417262" y="2832788"/>
                  <a:pt x="4417723" y="2832314"/>
                </a:cubicBezTo>
                <a:cubicBezTo>
                  <a:pt x="4419104" y="2830891"/>
                  <a:pt x="4421224" y="2824112"/>
                  <a:pt x="4421224" y="2824112"/>
                </a:cubicBezTo>
                <a:close/>
                <a:moveTo>
                  <a:pt x="4295849" y="2811631"/>
                </a:moveTo>
                <a:lnTo>
                  <a:pt x="4295373" y="2812217"/>
                </a:lnTo>
                <a:cubicBezTo>
                  <a:pt x="4293802" y="2814164"/>
                  <a:pt x="4289929" y="2819060"/>
                  <a:pt x="4286896" y="2823702"/>
                </a:cubicBezTo>
                <a:cubicBezTo>
                  <a:pt x="4283864" y="2828343"/>
                  <a:pt x="4281671" y="2832729"/>
                  <a:pt x="4283461" y="2833654"/>
                </a:cubicBezTo>
                <a:cubicBezTo>
                  <a:pt x="4284018" y="2834232"/>
                  <a:pt x="4285417" y="2832913"/>
                  <a:pt x="4287100" y="2830785"/>
                </a:cubicBezTo>
                <a:lnTo>
                  <a:pt x="4292011" y="2823684"/>
                </a:lnTo>
                <a:lnTo>
                  <a:pt x="4295788" y="2811969"/>
                </a:lnTo>
                <a:close/>
                <a:moveTo>
                  <a:pt x="3773192" y="2751200"/>
                </a:moveTo>
                <a:lnTo>
                  <a:pt x="3771726" y="2756517"/>
                </a:lnTo>
                <a:lnTo>
                  <a:pt x="3770171" y="2760908"/>
                </a:lnTo>
                <a:lnTo>
                  <a:pt x="3746862" y="2792630"/>
                </a:lnTo>
                <a:lnTo>
                  <a:pt x="3747975" y="2788844"/>
                </a:lnTo>
                <a:lnTo>
                  <a:pt x="3749834" y="2780271"/>
                </a:lnTo>
                <a:lnTo>
                  <a:pt x="3760941" y="2765829"/>
                </a:lnTo>
                <a:close/>
                <a:moveTo>
                  <a:pt x="4642534" y="2737477"/>
                </a:moveTo>
                <a:lnTo>
                  <a:pt x="4637295" y="2745948"/>
                </a:lnTo>
                <a:lnTo>
                  <a:pt x="4579148" y="2851498"/>
                </a:lnTo>
                <a:lnTo>
                  <a:pt x="4577157" y="2863444"/>
                </a:lnTo>
                <a:lnTo>
                  <a:pt x="4579932" y="2858149"/>
                </a:lnTo>
                <a:cubicBezTo>
                  <a:pt x="4588898" y="2845283"/>
                  <a:pt x="4597473" y="2820550"/>
                  <a:pt x="4607695" y="2811501"/>
                </a:cubicBezTo>
                <a:cubicBezTo>
                  <a:pt x="4610168" y="2809777"/>
                  <a:pt x="4614910" y="2810061"/>
                  <a:pt x="4615194" y="2808209"/>
                </a:cubicBezTo>
                <a:cubicBezTo>
                  <a:pt x="4617975" y="2804479"/>
                  <a:pt x="4622043" y="2796541"/>
                  <a:pt x="4626386" y="2788620"/>
                </a:cubicBezTo>
                <a:lnTo>
                  <a:pt x="4636854" y="2772720"/>
                </a:lnTo>
                <a:lnTo>
                  <a:pt x="4642322" y="2739402"/>
                </a:lnTo>
                <a:close/>
                <a:moveTo>
                  <a:pt x="4449876" y="2720500"/>
                </a:moveTo>
                <a:cubicBezTo>
                  <a:pt x="4449473" y="2723889"/>
                  <a:pt x="4449400" y="2726360"/>
                  <a:pt x="4448985" y="2728456"/>
                </a:cubicBezTo>
                <a:cubicBezTo>
                  <a:pt x="4448571" y="2730552"/>
                  <a:pt x="4447816" y="2732271"/>
                  <a:pt x="4446052" y="2734155"/>
                </a:cubicBezTo>
                <a:cubicBezTo>
                  <a:pt x="4445288" y="2729495"/>
                  <a:pt x="4446656" y="2724218"/>
                  <a:pt x="4449876" y="2720500"/>
                </a:cubicBezTo>
                <a:close/>
                <a:moveTo>
                  <a:pt x="4450934" y="2715273"/>
                </a:moveTo>
                <a:cubicBezTo>
                  <a:pt x="4451209" y="2716956"/>
                  <a:pt x="4451411" y="2718187"/>
                  <a:pt x="4451311" y="2719034"/>
                </a:cubicBezTo>
                <a:cubicBezTo>
                  <a:pt x="4451210" y="2719880"/>
                  <a:pt x="4450809" y="2720346"/>
                  <a:pt x="4449876" y="2720500"/>
                </a:cubicBezTo>
                <a:cubicBezTo>
                  <a:pt x="4449748" y="2719722"/>
                  <a:pt x="4449081" y="2718569"/>
                  <a:pt x="4448911" y="2717533"/>
                </a:cubicBezTo>
                <a:cubicBezTo>
                  <a:pt x="4448742" y="2716496"/>
                  <a:pt x="4449070" y="2715578"/>
                  <a:pt x="4450934" y="2715273"/>
                </a:cubicBezTo>
                <a:close/>
                <a:moveTo>
                  <a:pt x="4451992" y="2710047"/>
                </a:moveTo>
                <a:cubicBezTo>
                  <a:pt x="4452267" y="2711731"/>
                  <a:pt x="4452470" y="2712961"/>
                  <a:pt x="4452368" y="2713809"/>
                </a:cubicBezTo>
                <a:cubicBezTo>
                  <a:pt x="4452269" y="2714657"/>
                  <a:pt x="4451866" y="2715121"/>
                  <a:pt x="4450934" y="2715273"/>
                </a:cubicBezTo>
                <a:cubicBezTo>
                  <a:pt x="4450807" y="2714497"/>
                  <a:pt x="4450140" y="2713342"/>
                  <a:pt x="4449970" y="2712307"/>
                </a:cubicBezTo>
                <a:cubicBezTo>
                  <a:pt x="4449799" y="2711271"/>
                  <a:pt x="4450128" y="2710353"/>
                  <a:pt x="4451992" y="2710047"/>
                </a:cubicBezTo>
                <a:close/>
                <a:moveTo>
                  <a:pt x="4320619" y="2658773"/>
                </a:moveTo>
                <a:lnTo>
                  <a:pt x="4310331" y="2675054"/>
                </a:lnTo>
                <a:cubicBezTo>
                  <a:pt x="4310047" y="2676909"/>
                  <a:pt x="4311338" y="2682908"/>
                  <a:pt x="4311054" y="2684760"/>
                </a:cubicBezTo>
                <a:cubicBezTo>
                  <a:pt x="4307115" y="2696057"/>
                  <a:pt x="4300290" y="2709362"/>
                  <a:pt x="4293595" y="2724234"/>
                </a:cubicBezTo>
                <a:cubicBezTo>
                  <a:pt x="4292822" y="2725669"/>
                  <a:pt x="4290508" y="2729659"/>
                  <a:pt x="4287468" y="2734868"/>
                </a:cubicBezTo>
                <a:lnTo>
                  <a:pt x="4280987" y="2745952"/>
                </a:lnTo>
                <a:lnTo>
                  <a:pt x="4276576" y="2773592"/>
                </a:lnTo>
                <a:lnTo>
                  <a:pt x="4276858" y="2773413"/>
                </a:lnTo>
                <a:cubicBezTo>
                  <a:pt x="4279615" y="2769839"/>
                  <a:pt x="4298411" y="2736055"/>
                  <a:pt x="4288296" y="2758826"/>
                </a:cubicBezTo>
                <a:cubicBezTo>
                  <a:pt x="4277580" y="2783120"/>
                  <a:pt x="4302539" y="2740355"/>
                  <a:pt x="4305626" y="2734617"/>
                </a:cubicBezTo>
                <a:lnTo>
                  <a:pt x="4311479" y="2725358"/>
                </a:lnTo>
                <a:close/>
                <a:moveTo>
                  <a:pt x="4451501" y="2644712"/>
                </a:moveTo>
                <a:lnTo>
                  <a:pt x="4450282" y="2650366"/>
                </a:lnTo>
                <a:lnTo>
                  <a:pt x="4449486" y="2651677"/>
                </a:lnTo>
                <a:close/>
                <a:moveTo>
                  <a:pt x="4327192" y="2601417"/>
                </a:moveTo>
                <a:lnTo>
                  <a:pt x="4309068" y="2630719"/>
                </a:lnTo>
                <a:lnTo>
                  <a:pt x="4291073" y="2663385"/>
                </a:lnTo>
                <a:lnTo>
                  <a:pt x="4290636" y="2668725"/>
                </a:lnTo>
                <a:lnTo>
                  <a:pt x="4288227" y="2690776"/>
                </a:lnTo>
                <a:lnTo>
                  <a:pt x="4298161" y="2673390"/>
                </a:lnTo>
                <a:cubicBezTo>
                  <a:pt x="4302503" y="2665469"/>
                  <a:pt x="4307119" y="2657564"/>
                  <a:pt x="4310994" y="2653900"/>
                </a:cubicBezTo>
                <a:cubicBezTo>
                  <a:pt x="4314162" y="2650037"/>
                  <a:pt x="4320729" y="2650431"/>
                  <a:pt x="4320729" y="2650431"/>
                </a:cubicBezTo>
                <a:lnTo>
                  <a:pt x="4322008" y="2648651"/>
                </a:lnTo>
                <a:lnTo>
                  <a:pt x="4322209" y="2647185"/>
                </a:lnTo>
                <a:lnTo>
                  <a:pt x="4321135" y="2648390"/>
                </a:lnTo>
                <a:lnTo>
                  <a:pt x="4322313" y="2646435"/>
                </a:lnTo>
                <a:lnTo>
                  <a:pt x="4326003" y="2619554"/>
                </a:lnTo>
                <a:close/>
                <a:moveTo>
                  <a:pt x="4108728" y="2205773"/>
                </a:moveTo>
                <a:cubicBezTo>
                  <a:pt x="4108728" y="2205773"/>
                  <a:pt x="4108414" y="2207924"/>
                  <a:pt x="4108049" y="2210434"/>
                </a:cubicBezTo>
                <a:cubicBezTo>
                  <a:pt x="4106543" y="2210214"/>
                  <a:pt x="4105144" y="2210010"/>
                  <a:pt x="4104906" y="2209380"/>
                </a:cubicBezTo>
                <a:cubicBezTo>
                  <a:pt x="4104669" y="2208751"/>
                  <a:pt x="4105593" y="2207695"/>
                  <a:pt x="4108728" y="2205773"/>
                </a:cubicBezTo>
                <a:close/>
                <a:moveTo>
                  <a:pt x="3872118" y="2188720"/>
                </a:moveTo>
                <a:lnTo>
                  <a:pt x="3873179" y="2194065"/>
                </a:lnTo>
                <a:lnTo>
                  <a:pt x="3874677" y="2206087"/>
                </a:lnTo>
                <a:lnTo>
                  <a:pt x="3888165" y="2227325"/>
                </a:lnTo>
                <a:lnTo>
                  <a:pt x="3903202" y="2248962"/>
                </a:lnTo>
                <a:lnTo>
                  <a:pt x="3901843" y="2241466"/>
                </a:lnTo>
                <a:lnTo>
                  <a:pt x="3900249" y="2235238"/>
                </a:lnTo>
                <a:close/>
                <a:moveTo>
                  <a:pt x="4087962" y="2162425"/>
                </a:moveTo>
                <a:cubicBezTo>
                  <a:pt x="4094437" y="2164512"/>
                  <a:pt x="4099341" y="2172320"/>
                  <a:pt x="4101157" y="2182952"/>
                </a:cubicBezTo>
                <a:cubicBezTo>
                  <a:pt x="4093671" y="2177929"/>
                  <a:pt x="4089344" y="2170506"/>
                  <a:pt x="4087962" y="2162425"/>
                </a:cubicBezTo>
                <a:close/>
                <a:moveTo>
                  <a:pt x="4073566" y="2134861"/>
                </a:moveTo>
                <a:cubicBezTo>
                  <a:pt x="4073651" y="2135359"/>
                  <a:pt x="4073878" y="2136689"/>
                  <a:pt x="4074333" y="2139346"/>
                </a:cubicBezTo>
                <a:cubicBezTo>
                  <a:pt x="4074333" y="2139346"/>
                  <a:pt x="4073309" y="2133366"/>
                  <a:pt x="4073566" y="2134861"/>
                </a:cubicBezTo>
                <a:close/>
                <a:moveTo>
                  <a:pt x="4086591" y="2088177"/>
                </a:moveTo>
                <a:lnTo>
                  <a:pt x="4087648" y="2088223"/>
                </a:lnTo>
                <a:cubicBezTo>
                  <a:pt x="4088079" y="2088513"/>
                  <a:pt x="4088187" y="2089150"/>
                  <a:pt x="4088405" y="2090427"/>
                </a:cubicBezTo>
                <a:close/>
                <a:moveTo>
                  <a:pt x="4083256" y="2084044"/>
                </a:moveTo>
                <a:lnTo>
                  <a:pt x="4086591" y="2088177"/>
                </a:lnTo>
                <a:lnTo>
                  <a:pt x="4084951" y="2088108"/>
                </a:lnTo>
                <a:close/>
                <a:moveTo>
                  <a:pt x="3797709" y="2049761"/>
                </a:moveTo>
                <a:lnTo>
                  <a:pt x="3807622" y="2081348"/>
                </a:lnTo>
                <a:lnTo>
                  <a:pt x="3813133" y="2105435"/>
                </a:lnTo>
                <a:lnTo>
                  <a:pt x="3846321" y="2161426"/>
                </a:lnTo>
                <a:lnTo>
                  <a:pt x="3851670" y="2169851"/>
                </a:lnTo>
                <a:lnTo>
                  <a:pt x="3850384" y="2163634"/>
                </a:lnTo>
                <a:cubicBezTo>
                  <a:pt x="3848347" y="2154272"/>
                  <a:pt x="3847392" y="2149165"/>
                  <a:pt x="3847250" y="2146935"/>
                </a:cubicBezTo>
                <a:lnTo>
                  <a:pt x="3847979" y="2147170"/>
                </a:lnTo>
                <a:lnTo>
                  <a:pt x="3832261" y="2119797"/>
                </a:lnTo>
                <a:cubicBezTo>
                  <a:pt x="3822159" y="2100215"/>
                  <a:pt x="3813243" y="2080866"/>
                  <a:pt x="3805084" y="2061458"/>
                </a:cubicBezTo>
                <a:close/>
                <a:moveTo>
                  <a:pt x="4559169" y="2038852"/>
                </a:moveTo>
                <a:cubicBezTo>
                  <a:pt x="4559169" y="2038852"/>
                  <a:pt x="4558854" y="2041003"/>
                  <a:pt x="4558488" y="2043513"/>
                </a:cubicBezTo>
                <a:cubicBezTo>
                  <a:pt x="4556983" y="2043293"/>
                  <a:pt x="4555585" y="2043089"/>
                  <a:pt x="4555347" y="2042460"/>
                </a:cubicBezTo>
                <a:cubicBezTo>
                  <a:pt x="4555109" y="2041830"/>
                  <a:pt x="4556033" y="2040775"/>
                  <a:pt x="4559169" y="2038852"/>
                </a:cubicBezTo>
                <a:close/>
                <a:moveTo>
                  <a:pt x="4551597" y="2016033"/>
                </a:moveTo>
                <a:lnTo>
                  <a:pt x="4555698" y="2021558"/>
                </a:lnTo>
                <a:lnTo>
                  <a:pt x="4556675" y="2025548"/>
                </a:lnTo>
                <a:close/>
                <a:moveTo>
                  <a:pt x="4538401" y="1995505"/>
                </a:moveTo>
                <a:cubicBezTo>
                  <a:pt x="4544877" y="1997590"/>
                  <a:pt x="4549780" y="2005399"/>
                  <a:pt x="4551597" y="2016033"/>
                </a:cubicBezTo>
                <a:cubicBezTo>
                  <a:pt x="4544111" y="2011009"/>
                  <a:pt x="4539783" y="2003587"/>
                  <a:pt x="4538401" y="1995505"/>
                </a:cubicBezTo>
                <a:close/>
                <a:moveTo>
                  <a:pt x="3771773" y="1972517"/>
                </a:moveTo>
                <a:lnTo>
                  <a:pt x="3786588" y="2016519"/>
                </a:lnTo>
                <a:lnTo>
                  <a:pt x="3788103" y="2018066"/>
                </a:lnTo>
                <a:cubicBezTo>
                  <a:pt x="3790513" y="2020191"/>
                  <a:pt x="3792070" y="2021093"/>
                  <a:pt x="3791851" y="2019817"/>
                </a:cubicBezTo>
                <a:cubicBezTo>
                  <a:pt x="3789344" y="2005145"/>
                  <a:pt x="3782201" y="1990937"/>
                  <a:pt x="3774248" y="1976846"/>
                </a:cubicBezTo>
                <a:close/>
                <a:moveTo>
                  <a:pt x="4524006" y="1967940"/>
                </a:moveTo>
                <a:cubicBezTo>
                  <a:pt x="4524090" y="1968438"/>
                  <a:pt x="4524317" y="1969768"/>
                  <a:pt x="4524772" y="1972425"/>
                </a:cubicBezTo>
                <a:cubicBezTo>
                  <a:pt x="4524772" y="1972425"/>
                  <a:pt x="4523749" y="1966445"/>
                  <a:pt x="4524006" y="1967940"/>
                </a:cubicBezTo>
                <a:close/>
                <a:moveTo>
                  <a:pt x="3776703" y="1929329"/>
                </a:moveTo>
                <a:lnTo>
                  <a:pt x="3779535" y="1929843"/>
                </a:lnTo>
                <a:cubicBezTo>
                  <a:pt x="3779535" y="1929843"/>
                  <a:pt x="3778130" y="1929588"/>
                  <a:pt x="3776900" y="1929366"/>
                </a:cubicBezTo>
                <a:close/>
                <a:moveTo>
                  <a:pt x="3775317" y="1929077"/>
                </a:moveTo>
                <a:lnTo>
                  <a:pt x="3776703" y="1929329"/>
                </a:lnTo>
                <a:lnTo>
                  <a:pt x="3775385" y="1929090"/>
                </a:lnTo>
                <a:cubicBezTo>
                  <a:pt x="3775055" y="1929030"/>
                  <a:pt x="3774967" y="1929015"/>
                  <a:pt x="3775317" y="1929077"/>
                </a:cubicBezTo>
                <a:close/>
                <a:moveTo>
                  <a:pt x="4707797" y="1906037"/>
                </a:moveTo>
                <a:lnTo>
                  <a:pt x="4710744" y="1915605"/>
                </a:lnTo>
                <a:lnTo>
                  <a:pt x="4708926" y="1907827"/>
                </a:lnTo>
                <a:close/>
                <a:moveTo>
                  <a:pt x="3732208" y="1892880"/>
                </a:moveTo>
                <a:cubicBezTo>
                  <a:pt x="3732859" y="1893499"/>
                  <a:pt x="3733429" y="1894666"/>
                  <a:pt x="3733844" y="1895951"/>
                </a:cubicBezTo>
                <a:cubicBezTo>
                  <a:pt x="3734259" y="1897234"/>
                  <a:pt x="3734518" y="1898637"/>
                  <a:pt x="3734544" y="1899723"/>
                </a:cubicBezTo>
                <a:cubicBezTo>
                  <a:pt x="3734597" y="1901898"/>
                  <a:pt x="3733722" y="1902818"/>
                  <a:pt x="3731308" y="1899033"/>
                </a:cubicBezTo>
                <a:cubicBezTo>
                  <a:pt x="3731623" y="1896880"/>
                  <a:pt x="3729042" y="1896504"/>
                  <a:pt x="3729356" y="1894352"/>
                </a:cubicBezTo>
                <a:cubicBezTo>
                  <a:pt x="3730329" y="1892205"/>
                  <a:pt x="3731341" y="1892055"/>
                  <a:pt x="3732208" y="1892880"/>
                </a:cubicBezTo>
                <a:close/>
                <a:moveTo>
                  <a:pt x="3838051" y="1887579"/>
                </a:moveTo>
                <a:cubicBezTo>
                  <a:pt x="3838698" y="1886330"/>
                  <a:pt x="3842134" y="1888919"/>
                  <a:pt x="3850006" y="1897684"/>
                </a:cubicBezTo>
                <a:cubicBezTo>
                  <a:pt x="3854407" y="1905530"/>
                  <a:pt x="3875819" y="1938352"/>
                  <a:pt x="3879783" y="1943647"/>
                </a:cubicBezTo>
                <a:cubicBezTo>
                  <a:pt x="3883238" y="1945965"/>
                  <a:pt x="3889780" y="1945462"/>
                  <a:pt x="3889780" y="1945462"/>
                </a:cubicBezTo>
                <a:lnTo>
                  <a:pt x="3890013" y="1945812"/>
                </a:lnTo>
                <a:lnTo>
                  <a:pt x="3912472" y="2001486"/>
                </a:lnTo>
                <a:lnTo>
                  <a:pt x="3944524" y="2098694"/>
                </a:lnTo>
                <a:lnTo>
                  <a:pt x="3940091" y="2093694"/>
                </a:lnTo>
                <a:cubicBezTo>
                  <a:pt x="3924274" y="2054839"/>
                  <a:pt x="3907188" y="2029440"/>
                  <a:pt x="3890869" y="1990624"/>
                </a:cubicBezTo>
                <a:cubicBezTo>
                  <a:pt x="3889053" y="1979991"/>
                  <a:pt x="3876871" y="1962402"/>
                  <a:pt x="3863240" y="1939323"/>
                </a:cubicBezTo>
                <a:cubicBezTo>
                  <a:pt x="3859285" y="1929609"/>
                  <a:pt x="3836108" y="1891324"/>
                  <a:pt x="3838051" y="1887579"/>
                </a:cubicBezTo>
                <a:close/>
                <a:moveTo>
                  <a:pt x="3784450" y="1875115"/>
                </a:moveTo>
                <a:lnTo>
                  <a:pt x="3785640" y="1877553"/>
                </a:lnTo>
                <a:lnTo>
                  <a:pt x="3788702" y="1884892"/>
                </a:lnTo>
                <a:close/>
                <a:moveTo>
                  <a:pt x="4515332" y="1873120"/>
                </a:moveTo>
                <a:lnTo>
                  <a:pt x="4517842" y="1880781"/>
                </a:lnTo>
                <a:lnTo>
                  <a:pt x="4518751" y="1883945"/>
                </a:lnTo>
                <a:lnTo>
                  <a:pt x="4515106" y="1877075"/>
                </a:lnTo>
                <a:close/>
                <a:moveTo>
                  <a:pt x="3733783" y="1856917"/>
                </a:moveTo>
                <a:cubicBezTo>
                  <a:pt x="3734903" y="1856812"/>
                  <a:pt x="3735688" y="1857785"/>
                  <a:pt x="3734228" y="1861005"/>
                </a:cubicBezTo>
                <a:cubicBezTo>
                  <a:pt x="3732186" y="1860706"/>
                  <a:pt x="3731406" y="1860020"/>
                  <a:pt x="3731327" y="1859295"/>
                </a:cubicBezTo>
                <a:cubicBezTo>
                  <a:pt x="3731208" y="1858204"/>
                  <a:pt x="3732663" y="1857021"/>
                  <a:pt x="3733783" y="1856917"/>
                </a:cubicBezTo>
                <a:close/>
                <a:moveTo>
                  <a:pt x="3723205" y="1823687"/>
                </a:moveTo>
                <a:cubicBezTo>
                  <a:pt x="3724602" y="1823891"/>
                  <a:pt x="3725923" y="1824633"/>
                  <a:pt x="3725765" y="1825710"/>
                </a:cubicBezTo>
                <a:cubicBezTo>
                  <a:pt x="3728032" y="1828237"/>
                  <a:pt x="3720172" y="1824893"/>
                  <a:pt x="3720172" y="1824893"/>
                </a:cubicBezTo>
                <a:cubicBezTo>
                  <a:pt x="3720330" y="1823816"/>
                  <a:pt x="3721806" y="1823483"/>
                  <a:pt x="3723205" y="1823687"/>
                </a:cubicBezTo>
                <a:close/>
                <a:moveTo>
                  <a:pt x="4434671" y="1788269"/>
                </a:moveTo>
                <a:lnTo>
                  <a:pt x="4442045" y="1800411"/>
                </a:lnTo>
                <a:cubicBezTo>
                  <a:pt x="4451564" y="1817936"/>
                  <a:pt x="4461242" y="1839327"/>
                  <a:pt x="4471989" y="1848517"/>
                </a:cubicBezTo>
                <a:cubicBezTo>
                  <a:pt x="4475443" y="1850835"/>
                  <a:pt x="4481985" y="1850330"/>
                  <a:pt x="4482422" y="1852883"/>
                </a:cubicBezTo>
                <a:cubicBezTo>
                  <a:pt x="4490277" y="1863049"/>
                  <a:pt x="4505652" y="1896337"/>
                  <a:pt x="4516526" y="1906269"/>
                </a:cubicBezTo>
                <a:cubicBezTo>
                  <a:pt x="4518760" y="1908897"/>
                  <a:pt x="4522141" y="1910037"/>
                  <a:pt x="4524963" y="1910519"/>
                </a:cubicBezTo>
                <a:lnTo>
                  <a:pt x="4526408" y="1910606"/>
                </a:lnTo>
                <a:lnTo>
                  <a:pt x="4540899" y="1961055"/>
                </a:lnTo>
                <a:lnTo>
                  <a:pt x="4548193" y="1990877"/>
                </a:lnTo>
                <a:lnTo>
                  <a:pt x="4514420" y="1938320"/>
                </a:lnTo>
                <a:lnTo>
                  <a:pt x="4440491" y="1809439"/>
                </a:lnTo>
                <a:close/>
                <a:moveTo>
                  <a:pt x="4446546" y="1735424"/>
                </a:moveTo>
                <a:cubicBezTo>
                  <a:pt x="4449130" y="1732639"/>
                  <a:pt x="4463018" y="1739323"/>
                  <a:pt x="4466545" y="1742067"/>
                </a:cubicBezTo>
                <a:lnTo>
                  <a:pt x="4471353" y="1749468"/>
                </a:lnTo>
                <a:lnTo>
                  <a:pt x="4489407" y="1793998"/>
                </a:lnTo>
                <a:lnTo>
                  <a:pt x="4502214" y="1833087"/>
                </a:lnTo>
                <a:lnTo>
                  <a:pt x="4490825" y="1809573"/>
                </a:lnTo>
                <a:cubicBezTo>
                  <a:pt x="4486426" y="1801723"/>
                  <a:pt x="4446982" y="1737976"/>
                  <a:pt x="4446546" y="1735424"/>
                </a:cubicBezTo>
                <a:close/>
                <a:moveTo>
                  <a:pt x="3686035" y="1727147"/>
                </a:moveTo>
                <a:lnTo>
                  <a:pt x="3699447" y="1745949"/>
                </a:lnTo>
                <a:lnTo>
                  <a:pt x="3708338" y="1768319"/>
                </a:lnTo>
                <a:cubicBezTo>
                  <a:pt x="3712294" y="1781074"/>
                  <a:pt x="3715324" y="1793419"/>
                  <a:pt x="3717944" y="1804057"/>
                </a:cubicBezTo>
                <a:cubicBezTo>
                  <a:pt x="3708499" y="1793521"/>
                  <a:pt x="3710123" y="1782406"/>
                  <a:pt x="3701988" y="1762906"/>
                </a:cubicBezTo>
                <a:cubicBezTo>
                  <a:pt x="3700524" y="1759396"/>
                  <a:pt x="3688788" y="1741613"/>
                  <a:pt x="3685789" y="1730410"/>
                </a:cubicBezTo>
                <a:close/>
                <a:moveTo>
                  <a:pt x="3672078" y="1727041"/>
                </a:moveTo>
                <a:cubicBezTo>
                  <a:pt x="3674267" y="1722210"/>
                  <a:pt x="3681607" y="1735398"/>
                  <a:pt x="3684474" y="1742581"/>
                </a:cubicBezTo>
                <a:cubicBezTo>
                  <a:pt x="3685430" y="1744975"/>
                  <a:pt x="3685888" y="1746702"/>
                  <a:pt x="3685492" y="1746871"/>
                </a:cubicBezTo>
                <a:cubicBezTo>
                  <a:pt x="3684966" y="1747097"/>
                  <a:pt x="3682919" y="1744555"/>
                  <a:pt x="3678512" y="1737135"/>
                </a:cubicBezTo>
                <a:cubicBezTo>
                  <a:pt x="3678512" y="1737135"/>
                  <a:pt x="3671764" y="1729192"/>
                  <a:pt x="3672078" y="1727041"/>
                </a:cubicBezTo>
                <a:close/>
                <a:moveTo>
                  <a:pt x="4610267" y="1671921"/>
                </a:moveTo>
                <a:lnTo>
                  <a:pt x="4612029" y="1677050"/>
                </a:lnTo>
                <a:lnTo>
                  <a:pt x="4611963" y="1678218"/>
                </a:lnTo>
                <a:lnTo>
                  <a:pt x="4611794" y="1677612"/>
                </a:lnTo>
                <a:close/>
                <a:moveTo>
                  <a:pt x="1687626" y="1510537"/>
                </a:moveTo>
                <a:lnTo>
                  <a:pt x="1641219" y="1511778"/>
                </a:lnTo>
                <a:lnTo>
                  <a:pt x="1605141" y="1541809"/>
                </a:lnTo>
                <a:cubicBezTo>
                  <a:pt x="1582795" y="1563231"/>
                  <a:pt x="1562334" y="1584664"/>
                  <a:pt x="1541289" y="1604438"/>
                </a:cubicBezTo>
                <a:cubicBezTo>
                  <a:pt x="1552259" y="1605118"/>
                  <a:pt x="1585020" y="1576508"/>
                  <a:pt x="1615251" y="1555644"/>
                </a:cubicBezTo>
                <a:cubicBezTo>
                  <a:pt x="1628716" y="1546351"/>
                  <a:pt x="1649683" y="1532443"/>
                  <a:pt x="1673691" y="1517983"/>
                </a:cubicBezTo>
                <a:close/>
                <a:moveTo>
                  <a:pt x="2249832" y="1219899"/>
                </a:moveTo>
                <a:lnTo>
                  <a:pt x="2220342" y="1226536"/>
                </a:lnTo>
                <a:lnTo>
                  <a:pt x="2202701" y="1230938"/>
                </a:lnTo>
                <a:lnTo>
                  <a:pt x="2212333" y="1232613"/>
                </a:lnTo>
                <a:lnTo>
                  <a:pt x="2196758" y="1232421"/>
                </a:lnTo>
                <a:lnTo>
                  <a:pt x="2167588" y="1239700"/>
                </a:lnTo>
                <a:lnTo>
                  <a:pt x="2168824" y="1239727"/>
                </a:lnTo>
                <a:cubicBezTo>
                  <a:pt x="2194606" y="1241440"/>
                  <a:pt x="2220425" y="1243497"/>
                  <a:pt x="2245471" y="1238376"/>
                </a:cubicBezTo>
                <a:cubicBezTo>
                  <a:pt x="2250257" y="1237859"/>
                  <a:pt x="2240030" y="1229627"/>
                  <a:pt x="2237637" y="1229884"/>
                </a:cubicBezTo>
                <a:cubicBezTo>
                  <a:pt x="2230540" y="1228228"/>
                  <a:pt x="2230540" y="1228228"/>
                  <a:pt x="2230540" y="1228228"/>
                </a:cubicBezTo>
                <a:cubicBezTo>
                  <a:pt x="2242082" y="1229405"/>
                  <a:pt x="2256616" y="1232679"/>
                  <a:pt x="2270516" y="1233253"/>
                </a:cubicBezTo>
                <a:cubicBezTo>
                  <a:pt x="2272908" y="1232996"/>
                  <a:pt x="2265074" y="1224503"/>
                  <a:pt x="2262460" y="1222711"/>
                </a:cubicBezTo>
                <a:close/>
                <a:moveTo>
                  <a:pt x="2264884" y="1216443"/>
                </a:moveTo>
                <a:lnTo>
                  <a:pt x="2256618" y="1218349"/>
                </a:lnTo>
                <a:lnTo>
                  <a:pt x="2266988" y="1219802"/>
                </a:lnTo>
                <a:cubicBezTo>
                  <a:pt x="2268164" y="1220281"/>
                  <a:pt x="2268407" y="1220125"/>
                  <a:pt x="2268068" y="1219590"/>
                </a:cubicBezTo>
                <a:cubicBezTo>
                  <a:pt x="2267729" y="1219052"/>
                  <a:pt x="2266809" y="1218136"/>
                  <a:pt x="2265658" y="1217093"/>
                </a:cubicBezTo>
                <a:close/>
                <a:moveTo>
                  <a:pt x="2073575" y="1110299"/>
                </a:moveTo>
                <a:cubicBezTo>
                  <a:pt x="2071183" y="1110557"/>
                  <a:pt x="2079017" y="1119048"/>
                  <a:pt x="2083803" y="1118532"/>
                </a:cubicBezTo>
                <a:lnTo>
                  <a:pt x="2107412" y="1121188"/>
                </a:lnTo>
                <a:lnTo>
                  <a:pt x="2149868" y="1114343"/>
                </a:lnTo>
                <a:lnTo>
                  <a:pt x="2149592" y="1114333"/>
                </a:lnTo>
                <a:cubicBezTo>
                  <a:pt x="2133724" y="1113148"/>
                  <a:pt x="2117798" y="1111408"/>
                  <a:pt x="2103841" y="1111876"/>
                </a:cubicBezTo>
                <a:cubicBezTo>
                  <a:pt x="2101446" y="1112134"/>
                  <a:pt x="2101446" y="1112134"/>
                  <a:pt x="2101667" y="1114185"/>
                </a:cubicBezTo>
                <a:cubicBezTo>
                  <a:pt x="2092556" y="1113093"/>
                  <a:pt x="2083066" y="1111694"/>
                  <a:pt x="2073575" y="1110299"/>
                </a:cubicBezTo>
                <a:close/>
                <a:moveTo>
                  <a:pt x="2103541" y="1090642"/>
                </a:moveTo>
                <a:lnTo>
                  <a:pt x="2056647" y="1102197"/>
                </a:lnTo>
                <a:lnTo>
                  <a:pt x="2103102" y="1105039"/>
                </a:lnTo>
                <a:cubicBezTo>
                  <a:pt x="2107890" y="1104522"/>
                  <a:pt x="2107890" y="1104522"/>
                  <a:pt x="2107890" y="1104522"/>
                </a:cubicBezTo>
                <a:cubicBezTo>
                  <a:pt x="2121787" y="1105099"/>
                  <a:pt x="2121787" y="1105099"/>
                  <a:pt x="2121787" y="1105099"/>
                </a:cubicBezTo>
                <a:cubicBezTo>
                  <a:pt x="2122045" y="1107491"/>
                  <a:pt x="2124441" y="1107233"/>
                  <a:pt x="2124441" y="1107233"/>
                </a:cubicBezTo>
                <a:cubicBezTo>
                  <a:pt x="2128885" y="1106753"/>
                  <a:pt x="2128885" y="1106753"/>
                  <a:pt x="2128885" y="1106753"/>
                </a:cubicBezTo>
                <a:cubicBezTo>
                  <a:pt x="2145435" y="1109464"/>
                  <a:pt x="2161765" y="1110124"/>
                  <a:pt x="2178434" y="1110745"/>
                </a:cubicBezTo>
                <a:cubicBezTo>
                  <a:pt x="2185273" y="1110008"/>
                  <a:pt x="2189976" y="1111922"/>
                  <a:pt x="2194985" y="1113457"/>
                </a:cubicBezTo>
                <a:cubicBezTo>
                  <a:pt x="2188124" y="1114800"/>
                  <a:pt x="2180743" y="1115316"/>
                  <a:pt x="2173094" y="1115348"/>
                </a:cubicBezTo>
                <a:lnTo>
                  <a:pt x="2166851" y="1115078"/>
                </a:lnTo>
                <a:lnTo>
                  <a:pt x="2168285" y="1115803"/>
                </a:lnTo>
                <a:cubicBezTo>
                  <a:pt x="2169478" y="1117618"/>
                  <a:pt x="2168112" y="1120224"/>
                  <a:pt x="2166472" y="1122808"/>
                </a:cubicBezTo>
                <a:lnTo>
                  <a:pt x="2164479" y="1126777"/>
                </a:lnTo>
                <a:lnTo>
                  <a:pt x="2194228" y="1129479"/>
                </a:lnTo>
                <a:lnTo>
                  <a:pt x="2222643" y="1126909"/>
                </a:lnTo>
                <a:lnTo>
                  <a:pt x="2207522" y="1123860"/>
                </a:lnTo>
                <a:cubicBezTo>
                  <a:pt x="2212308" y="1123345"/>
                  <a:pt x="2218890" y="1120214"/>
                  <a:pt x="2225728" y="1119477"/>
                </a:cubicBezTo>
                <a:cubicBezTo>
                  <a:pt x="2227864" y="1116826"/>
                  <a:pt x="2217894" y="1110986"/>
                  <a:pt x="2215279" y="1109193"/>
                </a:cubicBezTo>
                <a:cubicBezTo>
                  <a:pt x="2203137" y="1105661"/>
                  <a:pt x="2188981" y="1102693"/>
                  <a:pt x="2177181" y="1099125"/>
                </a:cubicBezTo>
                <a:cubicBezTo>
                  <a:pt x="2156911" y="1095604"/>
                  <a:pt x="2135706" y="1093829"/>
                  <a:pt x="2114842" y="1092016"/>
                </a:cubicBezTo>
                <a:close/>
                <a:moveTo>
                  <a:pt x="2131665" y="1083712"/>
                </a:moveTo>
                <a:lnTo>
                  <a:pt x="2105153" y="1090244"/>
                </a:lnTo>
                <a:lnTo>
                  <a:pt x="2181626" y="1098645"/>
                </a:lnTo>
                <a:cubicBezTo>
                  <a:pt x="2224254" y="1105804"/>
                  <a:pt x="2267102" y="1115014"/>
                  <a:pt x="2309471" y="1119781"/>
                </a:cubicBezTo>
                <a:cubicBezTo>
                  <a:pt x="2311864" y="1119522"/>
                  <a:pt x="2304031" y="1111031"/>
                  <a:pt x="2299243" y="1111549"/>
                </a:cubicBezTo>
                <a:cubicBezTo>
                  <a:pt x="2252208" y="1105210"/>
                  <a:pt x="2206708" y="1093864"/>
                  <a:pt x="2159293" y="1087222"/>
                </a:cubicBezTo>
                <a:close/>
                <a:moveTo>
                  <a:pt x="2294851" y="1025919"/>
                </a:moveTo>
                <a:cubicBezTo>
                  <a:pt x="2294851" y="1025919"/>
                  <a:pt x="2294851" y="1025919"/>
                  <a:pt x="2292457" y="1026178"/>
                </a:cubicBezTo>
                <a:lnTo>
                  <a:pt x="2292379" y="1026133"/>
                </a:lnTo>
                <a:close/>
                <a:moveTo>
                  <a:pt x="2189911" y="1010809"/>
                </a:moveTo>
                <a:lnTo>
                  <a:pt x="2195355" y="1011060"/>
                </a:lnTo>
                <a:lnTo>
                  <a:pt x="2196765" y="1011836"/>
                </a:lnTo>
                <a:close/>
                <a:moveTo>
                  <a:pt x="2209374" y="1009548"/>
                </a:moveTo>
                <a:cubicBezTo>
                  <a:pt x="2235415" y="1013656"/>
                  <a:pt x="2261493" y="1018105"/>
                  <a:pt x="2287791" y="1024605"/>
                </a:cubicBezTo>
                <a:cubicBezTo>
                  <a:pt x="2288817" y="1024494"/>
                  <a:pt x="2289983" y="1024887"/>
                  <a:pt x="2290893" y="1025308"/>
                </a:cubicBezTo>
                <a:lnTo>
                  <a:pt x="2292379" y="1026133"/>
                </a:lnTo>
                <a:lnTo>
                  <a:pt x="2282470" y="1026995"/>
                </a:lnTo>
                <a:cubicBezTo>
                  <a:pt x="2278725" y="1027140"/>
                  <a:pt x="2275251" y="1026995"/>
                  <a:pt x="2271720" y="1026339"/>
                </a:cubicBezTo>
                <a:cubicBezTo>
                  <a:pt x="2250088" y="1021410"/>
                  <a:pt x="2226440" y="1017045"/>
                  <a:pt x="2202710" y="1015108"/>
                </a:cubicBezTo>
                <a:lnTo>
                  <a:pt x="2196765" y="1011836"/>
                </a:lnTo>
                <a:lnTo>
                  <a:pt x="2211941" y="1014114"/>
                </a:lnTo>
                <a:cubicBezTo>
                  <a:pt x="2214336" y="1013855"/>
                  <a:pt x="2211684" y="1011720"/>
                  <a:pt x="2209374" y="1009548"/>
                </a:cubicBezTo>
                <a:close/>
                <a:moveTo>
                  <a:pt x="2674298" y="640928"/>
                </a:moveTo>
                <a:lnTo>
                  <a:pt x="2675625" y="641263"/>
                </a:lnTo>
                <a:lnTo>
                  <a:pt x="2658229" y="642661"/>
                </a:lnTo>
                <a:cubicBezTo>
                  <a:pt x="2658229" y="642661"/>
                  <a:pt x="2658229" y="642661"/>
                  <a:pt x="2674298" y="640928"/>
                </a:cubicBezTo>
                <a:close/>
                <a:moveTo>
                  <a:pt x="2667528" y="597395"/>
                </a:moveTo>
                <a:cubicBezTo>
                  <a:pt x="2627949" y="599243"/>
                  <a:pt x="2588711" y="601056"/>
                  <a:pt x="2547337" y="605518"/>
                </a:cubicBezTo>
                <a:cubicBezTo>
                  <a:pt x="2568110" y="605699"/>
                  <a:pt x="2588968" y="603448"/>
                  <a:pt x="2607690" y="603850"/>
                </a:cubicBezTo>
                <a:cubicBezTo>
                  <a:pt x="2628207" y="601638"/>
                  <a:pt x="2649065" y="599388"/>
                  <a:pt x="2667528" y="597395"/>
                </a:cubicBezTo>
                <a:close/>
                <a:moveTo>
                  <a:pt x="2755201" y="592435"/>
                </a:moveTo>
                <a:cubicBezTo>
                  <a:pt x="2755201" y="592435"/>
                  <a:pt x="2755201" y="592435"/>
                  <a:pt x="2743916" y="593652"/>
                </a:cubicBezTo>
                <a:lnTo>
                  <a:pt x="2743221" y="593569"/>
                </a:lnTo>
                <a:close/>
                <a:moveTo>
                  <a:pt x="2938089" y="540205"/>
                </a:moveTo>
                <a:cubicBezTo>
                  <a:pt x="2910474" y="540762"/>
                  <a:pt x="2882559" y="541699"/>
                  <a:pt x="2857255" y="544428"/>
                </a:cubicBezTo>
                <a:cubicBezTo>
                  <a:pt x="2854347" y="544742"/>
                  <a:pt x="2853811" y="545383"/>
                  <a:pt x="2854753" y="546190"/>
                </a:cubicBezTo>
                <a:cubicBezTo>
                  <a:pt x="2857577" y="548606"/>
                  <a:pt x="2873694" y="552509"/>
                  <a:pt x="2878988" y="553496"/>
                </a:cubicBezTo>
                <a:cubicBezTo>
                  <a:pt x="2890613" y="552242"/>
                  <a:pt x="2899846" y="551246"/>
                  <a:pt x="2911728" y="552385"/>
                </a:cubicBezTo>
                <a:lnTo>
                  <a:pt x="2913780" y="552163"/>
                </a:lnTo>
                <a:cubicBezTo>
                  <a:pt x="2916174" y="551905"/>
                  <a:pt x="2915917" y="549513"/>
                  <a:pt x="2913523" y="549771"/>
                </a:cubicBezTo>
                <a:cubicBezTo>
                  <a:pt x="2925148" y="548517"/>
                  <a:pt x="2934160" y="545469"/>
                  <a:pt x="2945442" y="544252"/>
                </a:cubicBezTo>
                <a:cubicBezTo>
                  <a:pt x="2947839" y="543994"/>
                  <a:pt x="2945185" y="541861"/>
                  <a:pt x="2938089" y="540205"/>
                </a:cubicBezTo>
                <a:close/>
                <a:moveTo>
                  <a:pt x="3009955" y="513782"/>
                </a:moveTo>
                <a:lnTo>
                  <a:pt x="3124797" y="514145"/>
                </a:lnTo>
                <a:lnTo>
                  <a:pt x="3120393" y="516655"/>
                </a:lnTo>
                <a:close/>
                <a:moveTo>
                  <a:pt x="2905793" y="497353"/>
                </a:moveTo>
                <a:cubicBezTo>
                  <a:pt x="2907844" y="497131"/>
                  <a:pt x="2910459" y="498923"/>
                  <a:pt x="2915164" y="500837"/>
                </a:cubicBezTo>
                <a:cubicBezTo>
                  <a:pt x="2903623" y="499661"/>
                  <a:pt x="2891996" y="500914"/>
                  <a:pt x="2880371" y="502169"/>
                </a:cubicBezTo>
                <a:cubicBezTo>
                  <a:pt x="2901487" y="502312"/>
                  <a:pt x="2922858" y="504847"/>
                  <a:pt x="2945991" y="504427"/>
                </a:cubicBezTo>
                <a:cubicBezTo>
                  <a:pt x="2916159" y="510066"/>
                  <a:pt x="2874526" y="512135"/>
                  <a:pt x="2839990" y="515861"/>
                </a:cubicBezTo>
                <a:cubicBezTo>
                  <a:pt x="2840248" y="518253"/>
                  <a:pt x="2842643" y="517995"/>
                  <a:pt x="2845036" y="517737"/>
                </a:cubicBezTo>
                <a:cubicBezTo>
                  <a:pt x="2868205" y="517659"/>
                  <a:pt x="2891593" y="519631"/>
                  <a:pt x="2915102" y="519516"/>
                </a:cubicBezTo>
                <a:cubicBezTo>
                  <a:pt x="2944851" y="516307"/>
                  <a:pt x="2974941" y="513062"/>
                  <a:pt x="2997370" y="506147"/>
                </a:cubicBezTo>
                <a:cubicBezTo>
                  <a:pt x="3004210" y="505410"/>
                  <a:pt x="2980526" y="500703"/>
                  <a:pt x="2975518" y="499168"/>
                </a:cubicBezTo>
                <a:cubicBezTo>
                  <a:pt x="2952350" y="499247"/>
                  <a:pt x="2928925" y="496932"/>
                  <a:pt x="2905793" y="497353"/>
                </a:cubicBezTo>
                <a:close/>
                <a:moveTo>
                  <a:pt x="3114540" y="469996"/>
                </a:moveTo>
                <a:cubicBezTo>
                  <a:pt x="3112148" y="470254"/>
                  <a:pt x="3107702" y="470734"/>
                  <a:pt x="3105308" y="470992"/>
                </a:cubicBezTo>
                <a:cubicBezTo>
                  <a:pt x="3101889" y="471361"/>
                  <a:pt x="3101355" y="472023"/>
                  <a:pt x="3102307" y="472828"/>
                </a:cubicBezTo>
                <a:cubicBezTo>
                  <a:pt x="3103258" y="473632"/>
                  <a:pt x="3105695" y="474581"/>
                  <a:pt x="3108218" y="475519"/>
                </a:cubicBezTo>
                <a:cubicBezTo>
                  <a:pt x="3115056" y="474781"/>
                  <a:pt x="3119722" y="476353"/>
                  <a:pt x="3124510" y="475837"/>
                </a:cubicBezTo>
                <a:cubicBezTo>
                  <a:pt x="3128954" y="475357"/>
                  <a:pt x="3121637" y="471651"/>
                  <a:pt x="3114540" y="469996"/>
                </a:cubicBezTo>
                <a:close/>
                <a:moveTo>
                  <a:pt x="3287571" y="307138"/>
                </a:moveTo>
                <a:cubicBezTo>
                  <a:pt x="3287571" y="307138"/>
                  <a:pt x="3287571" y="307138"/>
                  <a:pt x="3283127" y="307616"/>
                </a:cubicBezTo>
                <a:lnTo>
                  <a:pt x="3282161" y="307588"/>
                </a:lnTo>
                <a:close/>
                <a:moveTo>
                  <a:pt x="3480767" y="239527"/>
                </a:moveTo>
                <a:lnTo>
                  <a:pt x="3483003" y="239722"/>
                </a:lnTo>
                <a:cubicBezTo>
                  <a:pt x="3483003" y="239722"/>
                  <a:pt x="3483003" y="239722"/>
                  <a:pt x="3480610" y="239981"/>
                </a:cubicBezTo>
                <a:close/>
                <a:moveTo>
                  <a:pt x="3214982" y="194556"/>
                </a:moveTo>
                <a:lnTo>
                  <a:pt x="3231204" y="195295"/>
                </a:lnTo>
                <a:lnTo>
                  <a:pt x="3221927" y="195609"/>
                </a:lnTo>
                <a:cubicBezTo>
                  <a:pt x="3220815" y="195730"/>
                  <a:pt x="3219373" y="195583"/>
                  <a:pt x="3217760" y="195270"/>
                </a:cubicBezTo>
                <a:close/>
                <a:moveTo>
                  <a:pt x="3254667" y="194499"/>
                </a:moveTo>
                <a:cubicBezTo>
                  <a:pt x="3278057" y="196472"/>
                  <a:pt x="3303877" y="198529"/>
                  <a:pt x="3327267" y="200502"/>
                </a:cubicBezTo>
                <a:cubicBezTo>
                  <a:pt x="3336498" y="199505"/>
                  <a:pt x="3343593" y="201160"/>
                  <a:pt x="3353047" y="202215"/>
                </a:cubicBezTo>
                <a:cubicBezTo>
                  <a:pt x="3355441" y="201956"/>
                  <a:pt x="3357835" y="201698"/>
                  <a:pt x="3355218" y="199905"/>
                </a:cubicBezTo>
                <a:cubicBezTo>
                  <a:pt x="3378608" y="201879"/>
                  <a:pt x="3399722" y="202023"/>
                  <a:pt x="3422891" y="201944"/>
                </a:cubicBezTo>
                <a:cubicBezTo>
                  <a:pt x="3425506" y="203737"/>
                  <a:pt x="3425285" y="201686"/>
                  <a:pt x="3425285" y="201686"/>
                </a:cubicBezTo>
                <a:cubicBezTo>
                  <a:pt x="3425026" y="199294"/>
                  <a:pt x="3419981" y="197416"/>
                  <a:pt x="3417672" y="195245"/>
                </a:cubicBezTo>
                <a:cubicBezTo>
                  <a:pt x="3496887" y="198458"/>
                  <a:pt x="3496887" y="198458"/>
                  <a:pt x="3496887" y="198458"/>
                </a:cubicBezTo>
                <a:cubicBezTo>
                  <a:pt x="3499280" y="198200"/>
                  <a:pt x="3499280" y="198200"/>
                  <a:pt x="3499022" y="195808"/>
                </a:cubicBezTo>
                <a:cubicBezTo>
                  <a:pt x="3520397" y="198343"/>
                  <a:pt x="3538777" y="198781"/>
                  <a:pt x="3560113" y="200974"/>
                </a:cubicBezTo>
                <a:cubicBezTo>
                  <a:pt x="3555668" y="201455"/>
                  <a:pt x="3550882" y="201970"/>
                  <a:pt x="3546436" y="202451"/>
                </a:cubicBezTo>
                <a:cubicBezTo>
                  <a:pt x="3539256" y="203224"/>
                  <a:pt x="3560849" y="207811"/>
                  <a:pt x="3563502" y="209946"/>
                </a:cubicBezTo>
                <a:cubicBezTo>
                  <a:pt x="3594244" y="215966"/>
                  <a:pt x="3625332" y="221950"/>
                  <a:pt x="3660603" y="225063"/>
                </a:cubicBezTo>
                <a:cubicBezTo>
                  <a:pt x="3627861" y="226173"/>
                  <a:pt x="3581305" y="224280"/>
                  <a:pt x="3541725" y="226127"/>
                </a:cubicBezTo>
                <a:cubicBezTo>
                  <a:pt x="3514119" y="227548"/>
                  <a:pt x="3490292" y="229729"/>
                  <a:pt x="3482545" y="234406"/>
                </a:cubicBezTo>
                <a:lnTo>
                  <a:pt x="3480767" y="239527"/>
                </a:lnTo>
                <a:lnTo>
                  <a:pt x="3382739" y="230956"/>
                </a:lnTo>
                <a:cubicBezTo>
                  <a:pt x="3347854" y="228624"/>
                  <a:pt x="3311589" y="226743"/>
                  <a:pt x="3274205" y="224898"/>
                </a:cubicBezTo>
                <a:cubicBezTo>
                  <a:pt x="3290534" y="225556"/>
                  <a:pt x="3301902" y="221909"/>
                  <a:pt x="3315577" y="220435"/>
                </a:cubicBezTo>
                <a:cubicBezTo>
                  <a:pt x="3322416" y="219697"/>
                  <a:pt x="3296118" y="213195"/>
                  <a:pt x="3291415" y="211283"/>
                </a:cubicBezTo>
                <a:cubicBezTo>
                  <a:pt x="3265633" y="209569"/>
                  <a:pt x="3234806" y="205978"/>
                  <a:pt x="3204543" y="204402"/>
                </a:cubicBezTo>
                <a:cubicBezTo>
                  <a:pt x="3115533" y="200169"/>
                  <a:pt x="3018027" y="203770"/>
                  <a:pt x="2929323" y="199159"/>
                </a:cubicBezTo>
                <a:cubicBezTo>
                  <a:pt x="3024692" y="198210"/>
                  <a:pt x="3119977" y="199690"/>
                  <a:pt x="3215825" y="203185"/>
                </a:cubicBezTo>
                <a:cubicBezTo>
                  <a:pt x="3311672" y="206678"/>
                  <a:pt x="3408037" y="214957"/>
                  <a:pt x="3503922" y="218793"/>
                </a:cubicBezTo>
                <a:cubicBezTo>
                  <a:pt x="3508368" y="218313"/>
                  <a:pt x="3491301" y="210818"/>
                  <a:pt x="3479760" y="209642"/>
                </a:cubicBezTo>
                <a:cubicBezTo>
                  <a:pt x="3428074" y="208300"/>
                  <a:pt x="3374422" y="204751"/>
                  <a:pt x="3322820" y="200981"/>
                </a:cubicBezTo>
                <a:cubicBezTo>
                  <a:pt x="3295822" y="199223"/>
                  <a:pt x="3269423" y="197403"/>
                  <a:pt x="3243356" y="195849"/>
                </a:cubicBezTo>
                <a:lnTo>
                  <a:pt x="3231204" y="195295"/>
                </a:lnTo>
                <a:lnTo>
                  <a:pt x="3240855" y="194967"/>
                </a:lnTo>
                <a:cubicBezTo>
                  <a:pt x="3254667" y="194499"/>
                  <a:pt x="3254667" y="194499"/>
                  <a:pt x="3254667" y="194499"/>
                </a:cubicBezTo>
                <a:close/>
                <a:moveTo>
                  <a:pt x="3092367" y="190967"/>
                </a:moveTo>
                <a:lnTo>
                  <a:pt x="3105278" y="191205"/>
                </a:lnTo>
                <a:lnTo>
                  <a:pt x="3103253" y="192157"/>
                </a:lnTo>
                <a:cubicBezTo>
                  <a:pt x="3100859" y="192416"/>
                  <a:pt x="3097888" y="192131"/>
                  <a:pt x="3094889" y="191589"/>
                </a:cubicBezTo>
                <a:close/>
                <a:moveTo>
                  <a:pt x="3086360" y="189484"/>
                </a:moveTo>
                <a:lnTo>
                  <a:pt x="3092367" y="190967"/>
                </a:lnTo>
                <a:lnTo>
                  <a:pt x="3038572" y="189979"/>
                </a:lnTo>
                <a:close/>
                <a:moveTo>
                  <a:pt x="3007008" y="189398"/>
                </a:moveTo>
                <a:lnTo>
                  <a:pt x="3038572" y="189979"/>
                </a:lnTo>
                <a:lnTo>
                  <a:pt x="3034057" y="190024"/>
                </a:lnTo>
                <a:lnTo>
                  <a:pt x="3002646" y="189409"/>
                </a:lnTo>
                <a:close/>
                <a:moveTo>
                  <a:pt x="3118722" y="188068"/>
                </a:moveTo>
                <a:cubicBezTo>
                  <a:pt x="3153774" y="189129"/>
                  <a:pt x="3153774" y="189129"/>
                  <a:pt x="3153774" y="189129"/>
                </a:cubicBezTo>
                <a:cubicBezTo>
                  <a:pt x="3170409" y="189410"/>
                  <a:pt x="3186738" y="190069"/>
                  <a:pt x="3203068" y="190728"/>
                </a:cubicBezTo>
                <a:cubicBezTo>
                  <a:pt x="3205399" y="191514"/>
                  <a:pt x="3209004" y="192854"/>
                  <a:pt x="3212579" y="193938"/>
                </a:cubicBezTo>
                <a:lnTo>
                  <a:pt x="3214982" y="194556"/>
                </a:lnTo>
                <a:lnTo>
                  <a:pt x="3165879" y="192319"/>
                </a:lnTo>
                <a:lnTo>
                  <a:pt x="3105278" y="191205"/>
                </a:lnTo>
                <a:lnTo>
                  <a:pt x="3109096" y="189408"/>
                </a:lnTo>
                <a:cubicBezTo>
                  <a:pt x="3111885" y="188806"/>
                  <a:pt x="3115303" y="188437"/>
                  <a:pt x="3118722" y="188068"/>
                </a:cubicBezTo>
                <a:close/>
                <a:moveTo>
                  <a:pt x="2079140" y="127420"/>
                </a:moveTo>
                <a:lnTo>
                  <a:pt x="2037086" y="134261"/>
                </a:lnTo>
                <a:cubicBezTo>
                  <a:pt x="1981920" y="145148"/>
                  <a:pt x="1925556" y="158172"/>
                  <a:pt x="1868522" y="173348"/>
                </a:cubicBezTo>
                <a:cubicBezTo>
                  <a:pt x="1755977" y="202645"/>
                  <a:pt x="1642752" y="242914"/>
                  <a:pt x="1532481" y="291268"/>
                </a:cubicBezTo>
                <a:cubicBezTo>
                  <a:pt x="1423288" y="337378"/>
                  <a:pt x="1318355" y="392924"/>
                  <a:pt x="1222395" y="452775"/>
                </a:cubicBezTo>
                <a:cubicBezTo>
                  <a:pt x="1126944" y="512277"/>
                  <a:pt x="1040387" y="576514"/>
                  <a:pt x="964625" y="641177"/>
                </a:cubicBezTo>
                <a:cubicBezTo>
                  <a:pt x="777189" y="797536"/>
                  <a:pt x="624924" y="975818"/>
                  <a:pt x="505719" y="1161499"/>
                </a:cubicBezTo>
                <a:cubicBezTo>
                  <a:pt x="465985" y="1223393"/>
                  <a:pt x="429924" y="1286109"/>
                  <a:pt x="397457" y="1349110"/>
                </a:cubicBezTo>
                <a:cubicBezTo>
                  <a:pt x="267923" y="1600508"/>
                  <a:pt x="195913" y="1856457"/>
                  <a:pt x="166481" y="2098020"/>
                </a:cubicBezTo>
                <a:cubicBezTo>
                  <a:pt x="176159" y="2087590"/>
                  <a:pt x="194407" y="2013496"/>
                  <a:pt x="218179" y="1952841"/>
                </a:cubicBezTo>
                <a:cubicBezTo>
                  <a:pt x="236617" y="1906740"/>
                  <a:pt x="260978" y="1856177"/>
                  <a:pt x="278259" y="1801875"/>
                </a:cubicBezTo>
                <a:cubicBezTo>
                  <a:pt x="288512" y="1773801"/>
                  <a:pt x="302524" y="1724004"/>
                  <a:pt x="319980" y="1669957"/>
                </a:cubicBezTo>
                <a:cubicBezTo>
                  <a:pt x="337260" y="1615655"/>
                  <a:pt x="360559" y="1557577"/>
                  <a:pt x="380819" y="1507593"/>
                </a:cubicBezTo>
                <a:cubicBezTo>
                  <a:pt x="443191" y="1365923"/>
                  <a:pt x="524519" y="1221293"/>
                  <a:pt x="623656" y="1087248"/>
                </a:cubicBezTo>
                <a:cubicBezTo>
                  <a:pt x="721697" y="954335"/>
                  <a:pt x="836668" y="830736"/>
                  <a:pt x="955791" y="725649"/>
                </a:cubicBezTo>
                <a:cubicBezTo>
                  <a:pt x="1038709" y="653422"/>
                  <a:pt x="1128454" y="585109"/>
                  <a:pt x="1225683" y="524380"/>
                </a:cubicBezTo>
                <a:cubicBezTo>
                  <a:pt x="1321389" y="464704"/>
                  <a:pt x="1424404" y="412358"/>
                  <a:pt x="1528184" y="370358"/>
                </a:cubicBezTo>
                <a:cubicBezTo>
                  <a:pt x="1552503" y="359949"/>
                  <a:pt x="1591489" y="345793"/>
                  <a:pt x="1637739" y="330749"/>
                </a:cubicBezTo>
                <a:cubicBezTo>
                  <a:pt x="1684241" y="315530"/>
                  <a:pt x="1736816" y="299871"/>
                  <a:pt x="1787569" y="288092"/>
                </a:cubicBezTo>
                <a:cubicBezTo>
                  <a:pt x="1885406" y="265195"/>
                  <a:pt x="1973169" y="254874"/>
                  <a:pt x="1966416" y="266284"/>
                </a:cubicBezTo>
                <a:cubicBezTo>
                  <a:pt x="1962110" y="275258"/>
                  <a:pt x="1921448" y="286444"/>
                  <a:pt x="1874287" y="297992"/>
                </a:cubicBezTo>
                <a:cubicBezTo>
                  <a:pt x="1828511" y="310461"/>
                  <a:pt x="1776812" y="327390"/>
                  <a:pt x="1752020" y="340376"/>
                </a:cubicBezTo>
                <a:cubicBezTo>
                  <a:pt x="1812760" y="321331"/>
                  <a:pt x="1885687" y="298751"/>
                  <a:pt x="1963565" y="280628"/>
                </a:cubicBezTo>
                <a:lnTo>
                  <a:pt x="1975692" y="278038"/>
                </a:lnTo>
                <a:close/>
                <a:moveTo>
                  <a:pt x="3451313" y="126239"/>
                </a:moveTo>
                <a:lnTo>
                  <a:pt x="3454166" y="126300"/>
                </a:lnTo>
                <a:cubicBezTo>
                  <a:pt x="3454166" y="126300"/>
                  <a:pt x="3454166" y="126300"/>
                  <a:pt x="3452116" y="126521"/>
                </a:cubicBezTo>
                <a:close/>
                <a:moveTo>
                  <a:pt x="3231727" y="113291"/>
                </a:moveTo>
                <a:lnTo>
                  <a:pt x="3237219" y="113907"/>
                </a:lnTo>
                <a:lnTo>
                  <a:pt x="3229302" y="113355"/>
                </a:lnTo>
                <a:close/>
                <a:moveTo>
                  <a:pt x="3266482" y="111616"/>
                </a:moveTo>
                <a:cubicBezTo>
                  <a:pt x="3322872" y="114872"/>
                  <a:pt x="3383704" y="117647"/>
                  <a:pt x="3440009" y="123331"/>
                </a:cubicBezTo>
                <a:cubicBezTo>
                  <a:pt x="3442514" y="124099"/>
                  <a:pt x="3444878" y="124362"/>
                  <a:pt x="3446946" y="124701"/>
                </a:cubicBezTo>
                <a:lnTo>
                  <a:pt x="3451313" y="126239"/>
                </a:lnTo>
                <a:lnTo>
                  <a:pt x="3429725" y="125781"/>
                </a:lnTo>
                <a:cubicBezTo>
                  <a:pt x="3421602" y="125835"/>
                  <a:pt x="3413510" y="126190"/>
                  <a:pt x="3405474" y="127057"/>
                </a:cubicBezTo>
                <a:cubicBezTo>
                  <a:pt x="3356009" y="120633"/>
                  <a:pt x="3304665" y="119257"/>
                  <a:pt x="3253321" y="117878"/>
                </a:cubicBezTo>
                <a:cubicBezTo>
                  <a:pt x="3250800" y="116940"/>
                  <a:pt x="3247196" y="115600"/>
                  <a:pt x="3243326" y="114591"/>
                </a:cubicBezTo>
                <a:lnTo>
                  <a:pt x="3237219" y="113907"/>
                </a:lnTo>
                <a:lnTo>
                  <a:pt x="3269391" y="116145"/>
                </a:lnTo>
                <a:cubicBezTo>
                  <a:pt x="3276231" y="115408"/>
                  <a:pt x="3271529" y="113493"/>
                  <a:pt x="3266482" y="111616"/>
                </a:cubicBezTo>
                <a:close/>
                <a:moveTo>
                  <a:pt x="2467949" y="87599"/>
                </a:moveTo>
                <a:lnTo>
                  <a:pt x="2426350" y="89858"/>
                </a:lnTo>
                <a:cubicBezTo>
                  <a:pt x="2371854" y="91186"/>
                  <a:pt x="2309031" y="95733"/>
                  <a:pt x="2252443" y="101671"/>
                </a:cubicBezTo>
                <a:lnTo>
                  <a:pt x="2238541" y="103303"/>
                </a:lnTo>
                <a:lnTo>
                  <a:pt x="2264969" y="101029"/>
                </a:lnTo>
                <a:cubicBezTo>
                  <a:pt x="2376937" y="93622"/>
                  <a:pt x="2432922" y="89917"/>
                  <a:pt x="2460912" y="88065"/>
                </a:cubicBezTo>
                <a:close/>
                <a:moveTo>
                  <a:pt x="2296827" y="0"/>
                </a:moveTo>
                <a:cubicBezTo>
                  <a:pt x="2357179" y="4847"/>
                  <a:pt x="2363358" y="11082"/>
                  <a:pt x="2336058" y="17173"/>
                </a:cubicBezTo>
                <a:cubicBezTo>
                  <a:pt x="2311080" y="23912"/>
                  <a:pt x="2253893" y="29631"/>
                  <a:pt x="2182295" y="38919"/>
                </a:cubicBezTo>
                <a:cubicBezTo>
                  <a:pt x="2112178" y="49811"/>
                  <a:pt x="2028314" y="63066"/>
                  <a:pt x="1951706" y="80312"/>
                </a:cubicBezTo>
                <a:cubicBezTo>
                  <a:pt x="1874924" y="97304"/>
                  <a:pt x="1805614" y="115888"/>
                  <a:pt x="1760636" y="130056"/>
                </a:cubicBezTo>
                <a:cubicBezTo>
                  <a:pt x="1880294" y="95848"/>
                  <a:pt x="1996477" y="74538"/>
                  <a:pt x="2106750" y="63683"/>
                </a:cubicBezTo>
                <a:cubicBezTo>
                  <a:pt x="2218328" y="54177"/>
                  <a:pt x="2323197" y="53424"/>
                  <a:pt x="2416853" y="58163"/>
                </a:cubicBezTo>
                <a:cubicBezTo>
                  <a:pt x="2488350" y="63944"/>
                  <a:pt x="2572571" y="72943"/>
                  <a:pt x="2563933" y="78905"/>
                </a:cubicBezTo>
                <a:cubicBezTo>
                  <a:pt x="2562156" y="80132"/>
                  <a:pt x="2557223" y="81169"/>
                  <a:pt x="2549684" y="82100"/>
                </a:cubicBezTo>
                <a:lnTo>
                  <a:pt x="2532461" y="83574"/>
                </a:lnTo>
                <a:lnTo>
                  <a:pt x="2545609" y="82777"/>
                </a:lnTo>
                <a:cubicBezTo>
                  <a:pt x="2564743" y="82184"/>
                  <a:pt x="2583904" y="81846"/>
                  <a:pt x="2602479" y="80880"/>
                </a:cubicBezTo>
                <a:cubicBezTo>
                  <a:pt x="2713662" y="75803"/>
                  <a:pt x="2713662" y="75803"/>
                  <a:pt x="2713662" y="75803"/>
                </a:cubicBezTo>
                <a:cubicBezTo>
                  <a:pt x="2787952" y="75052"/>
                  <a:pt x="2864080" y="68916"/>
                  <a:pt x="2938592" y="70217"/>
                </a:cubicBezTo>
                <a:cubicBezTo>
                  <a:pt x="2943636" y="72093"/>
                  <a:pt x="2953127" y="73490"/>
                  <a:pt x="2957794" y="75061"/>
                </a:cubicBezTo>
                <a:cubicBezTo>
                  <a:pt x="2911154" y="75596"/>
                  <a:pt x="2911154" y="75596"/>
                  <a:pt x="2911154" y="75596"/>
                </a:cubicBezTo>
                <a:cubicBezTo>
                  <a:pt x="2871695" y="75358"/>
                  <a:pt x="2832198" y="74776"/>
                  <a:pt x="2795009" y="76366"/>
                </a:cubicBezTo>
                <a:cubicBezTo>
                  <a:pt x="2787952" y="75052"/>
                  <a:pt x="2783505" y="75532"/>
                  <a:pt x="2776325" y="76307"/>
                </a:cubicBezTo>
                <a:cubicBezTo>
                  <a:pt x="2771620" y="74393"/>
                  <a:pt x="2769229" y="74651"/>
                  <a:pt x="2771879" y="76786"/>
                </a:cubicBezTo>
                <a:cubicBezTo>
                  <a:pt x="2688357" y="78532"/>
                  <a:pt x="2604531" y="80658"/>
                  <a:pt x="2521305" y="85140"/>
                </a:cubicBezTo>
                <a:cubicBezTo>
                  <a:pt x="2514466" y="85878"/>
                  <a:pt x="2533926" y="93114"/>
                  <a:pt x="2545551" y="91860"/>
                </a:cubicBezTo>
                <a:cubicBezTo>
                  <a:pt x="2635617" y="86643"/>
                  <a:pt x="2726198" y="86209"/>
                  <a:pt x="2814471" y="83605"/>
                </a:cubicBezTo>
                <a:cubicBezTo>
                  <a:pt x="2853967" y="84186"/>
                  <a:pt x="2896076" y="86559"/>
                  <a:pt x="2935879" y="86762"/>
                </a:cubicBezTo>
                <a:cubicBezTo>
                  <a:pt x="2978028" y="89477"/>
                  <a:pt x="3019880" y="89459"/>
                  <a:pt x="3059599" y="92091"/>
                </a:cubicBezTo>
                <a:cubicBezTo>
                  <a:pt x="2999023" y="91708"/>
                  <a:pt x="2938448" y="91326"/>
                  <a:pt x="2876042" y="93216"/>
                </a:cubicBezTo>
                <a:cubicBezTo>
                  <a:pt x="2869203" y="93953"/>
                  <a:pt x="2890715" y="100968"/>
                  <a:pt x="2900205" y="102366"/>
                </a:cubicBezTo>
                <a:cubicBezTo>
                  <a:pt x="2988254" y="97710"/>
                  <a:pt x="3072477" y="102457"/>
                  <a:pt x="3158097" y="97719"/>
                </a:cubicBezTo>
                <a:cubicBezTo>
                  <a:pt x="3164937" y="96980"/>
                  <a:pt x="3160234" y="95068"/>
                  <a:pt x="3152833" y="93792"/>
                </a:cubicBezTo>
                <a:cubicBezTo>
                  <a:pt x="3171518" y="93851"/>
                  <a:pt x="3192634" y="93994"/>
                  <a:pt x="3211273" y="96825"/>
                </a:cubicBezTo>
                <a:cubicBezTo>
                  <a:pt x="3202124" y="95391"/>
                  <a:pt x="3190497" y="96645"/>
                  <a:pt x="3181265" y="97642"/>
                </a:cubicBezTo>
                <a:cubicBezTo>
                  <a:pt x="3172034" y="98637"/>
                  <a:pt x="3181782" y="102426"/>
                  <a:pt x="3191235" y="103481"/>
                </a:cubicBezTo>
                <a:cubicBezTo>
                  <a:pt x="3104841" y="101042"/>
                  <a:pt x="3016828" y="106040"/>
                  <a:pt x="2928639" y="106215"/>
                </a:cubicBezTo>
                <a:cubicBezTo>
                  <a:pt x="2921800" y="106953"/>
                  <a:pt x="2943312" y="113969"/>
                  <a:pt x="2952801" y="115366"/>
                </a:cubicBezTo>
                <a:cubicBezTo>
                  <a:pt x="2969093" y="115684"/>
                  <a:pt x="2969093" y="115684"/>
                  <a:pt x="2969093" y="115684"/>
                </a:cubicBezTo>
                <a:cubicBezTo>
                  <a:pt x="3019957" y="112618"/>
                  <a:pt x="3071080" y="111946"/>
                  <a:pt x="3119771" y="111189"/>
                </a:cubicBezTo>
                <a:cubicBezTo>
                  <a:pt x="3145504" y="110834"/>
                  <a:pt x="3170543" y="110468"/>
                  <a:pt x="3195331" y="110992"/>
                </a:cubicBezTo>
                <a:lnTo>
                  <a:pt x="3229302" y="113355"/>
                </a:lnTo>
                <a:lnTo>
                  <a:pt x="3002010" y="119395"/>
                </a:lnTo>
                <a:cubicBezTo>
                  <a:pt x="2888260" y="119906"/>
                  <a:pt x="2888260" y="119906"/>
                  <a:pt x="2888260" y="119906"/>
                </a:cubicBezTo>
                <a:cubicBezTo>
                  <a:pt x="2850852" y="119446"/>
                  <a:pt x="2811613" y="121258"/>
                  <a:pt x="2774427" y="122849"/>
                </a:cubicBezTo>
                <a:cubicBezTo>
                  <a:pt x="2767588" y="123585"/>
                  <a:pt x="2787048" y="130824"/>
                  <a:pt x="2798330" y="129607"/>
                </a:cubicBezTo>
                <a:cubicBezTo>
                  <a:pt x="2828679" y="128753"/>
                  <a:pt x="2858649" y="127596"/>
                  <a:pt x="2888996" y="126743"/>
                </a:cubicBezTo>
                <a:cubicBezTo>
                  <a:pt x="2979580" y="126310"/>
                  <a:pt x="2979580" y="126310"/>
                  <a:pt x="2979580" y="126310"/>
                </a:cubicBezTo>
                <a:cubicBezTo>
                  <a:pt x="3040155" y="126692"/>
                  <a:pt x="3100509" y="125024"/>
                  <a:pt x="3160825" y="123014"/>
                </a:cubicBezTo>
                <a:cubicBezTo>
                  <a:pt x="3165528" y="124927"/>
                  <a:pt x="3170574" y="126803"/>
                  <a:pt x="3175020" y="126323"/>
                </a:cubicBezTo>
                <a:cubicBezTo>
                  <a:pt x="3191312" y="126641"/>
                  <a:pt x="3210034" y="127042"/>
                  <a:pt x="3226364" y="127702"/>
                </a:cubicBezTo>
                <a:cubicBezTo>
                  <a:pt x="3245086" y="128103"/>
                  <a:pt x="3261378" y="128420"/>
                  <a:pt x="3280358" y="131214"/>
                </a:cubicBezTo>
                <a:cubicBezTo>
                  <a:pt x="3280358" y="131214"/>
                  <a:pt x="3280358" y="131214"/>
                  <a:pt x="3283010" y="133348"/>
                </a:cubicBezTo>
                <a:cubicBezTo>
                  <a:pt x="3249752" y="129675"/>
                  <a:pt x="3214738" y="128955"/>
                  <a:pt x="3182337" y="130029"/>
                </a:cubicBezTo>
                <a:cubicBezTo>
                  <a:pt x="3180286" y="130251"/>
                  <a:pt x="3177892" y="130510"/>
                  <a:pt x="3175499" y="130767"/>
                </a:cubicBezTo>
                <a:cubicBezTo>
                  <a:pt x="3165786" y="127319"/>
                  <a:pt x="3156298" y="125922"/>
                  <a:pt x="3146806" y="124526"/>
                </a:cubicBezTo>
                <a:cubicBezTo>
                  <a:pt x="3132908" y="123951"/>
                  <a:pt x="3147322" y="129311"/>
                  <a:pt x="3154726" y="130588"/>
                </a:cubicBezTo>
                <a:cubicBezTo>
                  <a:pt x="3152589" y="133238"/>
                  <a:pt x="3174443" y="140218"/>
                  <a:pt x="3181282" y="139479"/>
                </a:cubicBezTo>
                <a:cubicBezTo>
                  <a:pt x="3222914" y="137410"/>
                  <a:pt x="3222914" y="137410"/>
                  <a:pt x="3222914" y="137410"/>
                </a:cubicBezTo>
                <a:cubicBezTo>
                  <a:pt x="3265025" y="139785"/>
                  <a:pt x="3265025" y="139785"/>
                  <a:pt x="3265025" y="139785"/>
                </a:cubicBezTo>
                <a:cubicBezTo>
                  <a:pt x="3293200" y="141240"/>
                  <a:pt x="3320814" y="140682"/>
                  <a:pt x="3349026" y="142481"/>
                </a:cubicBezTo>
                <a:cubicBezTo>
                  <a:pt x="3351419" y="142222"/>
                  <a:pt x="3351419" y="142222"/>
                  <a:pt x="3346374" y="140347"/>
                </a:cubicBezTo>
                <a:cubicBezTo>
                  <a:pt x="3351162" y="139830"/>
                  <a:pt x="3351162" y="139830"/>
                  <a:pt x="3351162" y="139830"/>
                </a:cubicBezTo>
                <a:cubicBezTo>
                  <a:pt x="3353471" y="142002"/>
                  <a:pt x="3368226" y="147325"/>
                  <a:pt x="3375322" y="148981"/>
                </a:cubicBezTo>
                <a:cubicBezTo>
                  <a:pt x="3433763" y="152014"/>
                  <a:pt x="3433763" y="152014"/>
                  <a:pt x="3433763" y="152014"/>
                </a:cubicBezTo>
                <a:cubicBezTo>
                  <a:pt x="3436158" y="151757"/>
                  <a:pt x="3435900" y="149363"/>
                  <a:pt x="3433506" y="149621"/>
                </a:cubicBezTo>
                <a:cubicBezTo>
                  <a:pt x="3473308" y="149824"/>
                  <a:pt x="3515418" y="152198"/>
                  <a:pt x="3555135" y="154829"/>
                </a:cubicBezTo>
                <a:cubicBezTo>
                  <a:pt x="3524567" y="153632"/>
                  <a:pt x="3492168" y="154706"/>
                  <a:pt x="3461939" y="153470"/>
                </a:cubicBezTo>
                <a:cubicBezTo>
                  <a:pt x="3459547" y="153728"/>
                  <a:pt x="3459805" y="156121"/>
                  <a:pt x="3462197" y="155863"/>
                </a:cubicBezTo>
                <a:cubicBezTo>
                  <a:pt x="3394267" y="151432"/>
                  <a:pt x="3324202" y="149653"/>
                  <a:pt x="3254136" y="147874"/>
                </a:cubicBezTo>
                <a:cubicBezTo>
                  <a:pt x="3186721" y="148229"/>
                  <a:pt x="3117173" y="151235"/>
                  <a:pt x="3047105" y="149456"/>
                </a:cubicBezTo>
                <a:cubicBezTo>
                  <a:pt x="3042662" y="149936"/>
                  <a:pt x="3052631" y="155776"/>
                  <a:pt x="3062119" y="157172"/>
                </a:cubicBezTo>
                <a:cubicBezTo>
                  <a:pt x="3017838" y="157108"/>
                  <a:pt x="2973812" y="159436"/>
                  <a:pt x="2929824" y="162105"/>
                </a:cubicBezTo>
                <a:cubicBezTo>
                  <a:pt x="2920333" y="160709"/>
                  <a:pt x="2944581" y="167431"/>
                  <a:pt x="2949284" y="169343"/>
                </a:cubicBezTo>
                <a:cubicBezTo>
                  <a:pt x="2973014" y="171279"/>
                  <a:pt x="2998797" y="172994"/>
                  <a:pt x="3022223" y="175308"/>
                </a:cubicBezTo>
                <a:cubicBezTo>
                  <a:pt x="3001106" y="175165"/>
                  <a:pt x="2980589" y="177378"/>
                  <a:pt x="2957339" y="179886"/>
                </a:cubicBezTo>
                <a:cubicBezTo>
                  <a:pt x="2950758" y="183016"/>
                  <a:pt x="2976799" y="187124"/>
                  <a:pt x="2981844" y="189000"/>
                </a:cubicBezTo>
                <a:lnTo>
                  <a:pt x="3002646" y="189409"/>
                </a:lnTo>
                <a:lnTo>
                  <a:pt x="2926989" y="189589"/>
                </a:lnTo>
                <a:cubicBezTo>
                  <a:pt x="2900290" y="189950"/>
                  <a:pt x="2873579" y="190650"/>
                  <a:pt x="2846895" y="191798"/>
                </a:cubicBezTo>
                <a:cubicBezTo>
                  <a:pt x="2838004" y="192758"/>
                  <a:pt x="2861909" y="199514"/>
                  <a:pt x="2866354" y="199035"/>
                </a:cubicBezTo>
                <a:cubicBezTo>
                  <a:pt x="2894788" y="202884"/>
                  <a:pt x="2923001" y="204683"/>
                  <a:pt x="2953229" y="205918"/>
                </a:cubicBezTo>
                <a:cubicBezTo>
                  <a:pt x="2874530" y="207491"/>
                  <a:pt x="2874530" y="207491"/>
                  <a:pt x="2874530" y="207491"/>
                </a:cubicBezTo>
                <a:cubicBezTo>
                  <a:pt x="2848628" y="207863"/>
                  <a:pt x="2823325" y="210593"/>
                  <a:pt x="2795749" y="211491"/>
                </a:cubicBezTo>
                <a:cubicBezTo>
                  <a:pt x="2788909" y="212231"/>
                  <a:pt x="2810421" y="219247"/>
                  <a:pt x="2817261" y="218508"/>
                </a:cubicBezTo>
                <a:cubicBezTo>
                  <a:pt x="2819653" y="218250"/>
                  <a:pt x="2819653" y="218250"/>
                  <a:pt x="2819653" y="218250"/>
                </a:cubicBezTo>
                <a:cubicBezTo>
                  <a:pt x="2857061" y="218710"/>
                  <a:pt x="2893907" y="217157"/>
                  <a:pt x="2931313" y="217618"/>
                </a:cubicBezTo>
                <a:cubicBezTo>
                  <a:pt x="2968501" y="216028"/>
                  <a:pt x="3005309" y="214132"/>
                  <a:pt x="3042754" y="214936"/>
                </a:cubicBezTo>
                <a:cubicBezTo>
                  <a:pt x="3051985" y="213939"/>
                  <a:pt x="3051985" y="213939"/>
                  <a:pt x="3051985" y="213939"/>
                </a:cubicBezTo>
                <a:cubicBezTo>
                  <a:pt x="3082214" y="215174"/>
                  <a:pt x="3082214" y="215174"/>
                  <a:pt x="3082214" y="215174"/>
                </a:cubicBezTo>
                <a:cubicBezTo>
                  <a:pt x="3084608" y="214916"/>
                  <a:pt x="3089051" y="214437"/>
                  <a:pt x="3091445" y="214178"/>
                </a:cubicBezTo>
                <a:cubicBezTo>
                  <a:pt x="3093839" y="213920"/>
                  <a:pt x="3098541" y="215833"/>
                  <a:pt x="3100936" y="215575"/>
                </a:cubicBezTo>
                <a:cubicBezTo>
                  <a:pt x="3138379" y="216378"/>
                  <a:pt x="3175446" y="216875"/>
                  <a:pt x="3212375" y="212893"/>
                </a:cubicBezTo>
                <a:cubicBezTo>
                  <a:pt x="3223918" y="214068"/>
                  <a:pt x="3235765" y="214864"/>
                  <a:pt x="3250041" y="215747"/>
                </a:cubicBezTo>
                <a:cubicBezTo>
                  <a:pt x="3185417" y="222716"/>
                  <a:pt x="3103845" y="220103"/>
                  <a:pt x="3041097" y="222030"/>
                </a:cubicBezTo>
                <a:cubicBezTo>
                  <a:pt x="3038703" y="222288"/>
                  <a:pt x="3038703" y="222288"/>
                  <a:pt x="3041356" y="224422"/>
                </a:cubicBezTo>
                <a:cubicBezTo>
                  <a:pt x="3020239" y="224279"/>
                  <a:pt x="2999465" y="224099"/>
                  <a:pt x="2978729" y="224260"/>
                </a:cubicBezTo>
                <a:cubicBezTo>
                  <a:pt x="2971290" y="222643"/>
                  <a:pt x="2990750" y="229880"/>
                  <a:pt x="3000239" y="231277"/>
                </a:cubicBezTo>
                <a:cubicBezTo>
                  <a:pt x="3030210" y="230120"/>
                  <a:pt x="3063210" y="231401"/>
                  <a:pt x="3095830" y="232378"/>
                </a:cubicBezTo>
                <a:lnTo>
                  <a:pt x="3098224" y="232120"/>
                </a:lnTo>
                <a:cubicBezTo>
                  <a:pt x="3125836" y="231563"/>
                  <a:pt x="3153792" y="230969"/>
                  <a:pt x="3181708" y="230032"/>
                </a:cubicBezTo>
                <a:cubicBezTo>
                  <a:pt x="3195644" y="230950"/>
                  <a:pt x="3209921" y="231830"/>
                  <a:pt x="3223598" y="230355"/>
                </a:cubicBezTo>
                <a:cubicBezTo>
                  <a:pt x="3265710" y="232729"/>
                  <a:pt x="3265710" y="232729"/>
                  <a:pt x="3265710" y="232729"/>
                </a:cubicBezTo>
                <a:cubicBezTo>
                  <a:pt x="3321755" y="236020"/>
                  <a:pt x="3377887" y="236881"/>
                  <a:pt x="3431799" y="242824"/>
                </a:cubicBezTo>
                <a:cubicBezTo>
                  <a:pt x="3406320" y="240731"/>
                  <a:pt x="3380796" y="241409"/>
                  <a:pt x="3357286" y="241525"/>
                </a:cubicBezTo>
                <a:cubicBezTo>
                  <a:pt x="3352841" y="242004"/>
                  <a:pt x="3355493" y="244138"/>
                  <a:pt x="3357765" y="245969"/>
                </a:cubicBezTo>
                <a:cubicBezTo>
                  <a:pt x="3334377" y="243995"/>
                  <a:pt x="3313603" y="243816"/>
                  <a:pt x="3290093" y="243931"/>
                </a:cubicBezTo>
                <a:cubicBezTo>
                  <a:pt x="3269098" y="241699"/>
                  <a:pt x="3247982" y="241557"/>
                  <a:pt x="3226905" y="241756"/>
                </a:cubicBezTo>
                <a:cubicBezTo>
                  <a:pt x="3208523" y="241318"/>
                  <a:pt x="3187666" y="243566"/>
                  <a:pt x="3166892" y="243387"/>
                </a:cubicBezTo>
                <a:cubicBezTo>
                  <a:pt x="3124695" y="243443"/>
                  <a:pt x="3083406" y="245475"/>
                  <a:pt x="3041432" y="247582"/>
                </a:cubicBezTo>
                <a:cubicBezTo>
                  <a:pt x="3036986" y="248063"/>
                  <a:pt x="3044342" y="252109"/>
                  <a:pt x="3053796" y="253165"/>
                </a:cubicBezTo>
                <a:cubicBezTo>
                  <a:pt x="3025877" y="254101"/>
                  <a:pt x="2998008" y="252266"/>
                  <a:pt x="2974276" y="250331"/>
                </a:cubicBezTo>
                <a:cubicBezTo>
                  <a:pt x="2957690" y="247277"/>
                  <a:pt x="2979544" y="254257"/>
                  <a:pt x="2986639" y="255913"/>
                </a:cubicBezTo>
                <a:cubicBezTo>
                  <a:pt x="2989033" y="255654"/>
                  <a:pt x="2991342" y="257826"/>
                  <a:pt x="2993736" y="257568"/>
                </a:cubicBezTo>
                <a:cubicBezTo>
                  <a:pt x="2991342" y="257826"/>
                  <a:pt x="3010802" y="265062"/>
                  <a:pt x="3017642" y="264325"/>
                </a:cubicBezTo>
                <a:cubicBezTo>
                  <a:pt x="3115884" y="267562"/>
                  <a:pt x="3215437" y="263741"/>
                  <a:pt x="3313460" y="264924"/>
                </a:cubicBezTo>
                <a:cubicBezTo>
                  <a:pt x="3315853" y="264665"/>
                  <a:pt x="3316110" y="267058"/>
                  <a:pt x="3318161" y="266837"/>
                </a:cubicBezTo>
                <a:cubicBezTo>
                  <a:pt x="3311323" y="267574"/>
                  <a:pt x="3304226" y="265920"/>
                  <a:pt x="3294994" y="266915"/>
                </a:cubicBezTo>
                <a:cubicBezTo>
                  <a:pt x="3288156" y="267653"/>
                  <a:pt x="3281059" y="265999"/>
                  <a:pt x="3273878" y="266773"/>
                </a:cubicBezTo>
                <a:cubicBezTo>
                  <a:pt x="3267041" y="267510"/>
                  <a:pt x="3274395" y="271559"/>
                  <a:pt x="3281796" y="272835"/>
                </a:cubicBezTo>
                <a:cubicBezTo>
                  <a:pt x="3263110" y="272776"/>
                  <a:pt x="3241995" y="272633"/>
                  <a:pt x="3223273" y="272231"/>
                </a:cubicBezTo>
                <a:cubicBezTo>
                  <a:pt x="3202498" y="272051"/>
                  <a:pt x="3183812" y="271993"/>
                  <a:pt x="3165091" y="271591"/>
                </a:cubicBezTo>
                <a:cubicBezTo>
                  <a:pt x="3158253" y="272328"/>
                  <a:pt x="3177710" y="279565"/>
                  <a:pt x="3184550" y="278827"/>
                </a:cubicBezTo>
                <a:cubicBezTo>
                  <a:pt x="3222217" y="281681"/>
                  <a:pt x="3259283" y="282180"/>
                  <a:pt x="3296949" y="285032"/>
                </a:cubicBezTo>
                <a:cubicBezTo>
                  <a:pt x="3332001" y="286092"/>
                  <a:pt x="3369065" y="286590"/>
                  <a:pt x="3406510" y="287393"/>
                </a:cubicBezTo>
                <a:cubicBezTo>
                  <a:pt x="3406768" y="289785"/>
                  <a:pt x="3418874" y="292975"/>
                  <a:pt x="3425969" y="294630"/>
                </a:cubicBezTo>
                <a:cubicBezTo>
                  <a:pt x="3381687" y="294565"/>
                  <a:pt x="3381687" y="294565"/>
                  <a:pt x="3381687" y="294565"/>
                </a:cubicBezTo>
                <a:cubicBezTo>
                  <a:pt x="3297464" y="289818"/>
                  <a:pt x="3213243" y="285069"/>
                  <a:pt x="3130152" y="294032"/>
                </a:cubicBezTo>
                <a:cubicBezTo>
                  <a:pt x="3123314" y="294768"/>
                  <a:pt x="3128322" y="296304"/>
                  <a:pt x="3133024" y="298217"/>
                </a:cubicBezTo>
                <a:cubicBezTo>
                  <a:pt x="3116696" y="297557"/>
                  <a:pt x="3098011" y="297498"/>
                  <a:pt x="3093566" y="297978"/>
                </a:cubicBezTo>
                <a:cubicBezTo>
                  <a:pt x="3083817" y="294188"/>
                  <a:pt x="3062480" y="291994"/>
                  <a:pt x="3079630" y="297060"/>
                </a:cubicBezTo>
                <a:cubicBezTo>
                  <a:pt x="3103756" y="305869"/>
                  <a:pt x="3150090" y="305712"/>
                  <a:pt x="3187499" y="306173"/>
                </a:cubicBezTo>
                <a:cubicBezTo>
                  <a:pt x="3202674" y="305748"/>
                  <a:pt x="3218425" y="305864"/>
                  <a:pt x="3234461" y="306209"/>
                </a:cubicBezTo>
                <a:lnTo>
                  <a:pt x="3282161" y="307588"/>
                </a:lnTo>
                <a:lnTo>
                  <a:pt x="3275185" y="308170"/>
                </a:lnTo>
                <a:cubicBezTo>
                  <a:pt x="3271435" y="308271"/>
                  <a:pt x="3267953" y="308043"/>
                  <a:pt x="3264405" y="307216"/>
                </a:cubicBezTo>
                <a:cubicBezTo>
                  <a:pt x="3252778" y="308468"/>
                  <a:pt x="3274630" y="315449"/>
                  <a:pt x="3277024" y="315190"/>
                </a:cubicBezTo>
                <a:cubicBezTo>
                  <a:pt x="3286515" y="316588"/>
                  <a:pt x="3296005" y="317985"/>
                  <a:pt x="3305118" y="319077"/>
                </a:cubicBezTo>
                <a:cubicBezTo>
                  <a:pt x="3277542" y="319976"/>
                  <a:pt x="3249330" y="318178"/>
                  <a:pt x="3221152" y="316722"/>
                </a:cubicBezTo>
                <a:cubicBezTo>
                  <a:pt x="3193541" y="317279"/>
                  <a:pt x="3163193" y="318132"/>
                  <a:pt x="3135274" y="319069"/>
                </a:cubicBezTo>
                <a:cubicBezTo>
                  <a:pt x="3126042" y="320064"/>
                  <a:pt x="3152302" y="326222"/>
                  <a:pt x="3157348" y="328098"/>
                </a:cubicBezTo>
                <a:cubicBezTo>
                  <a:pt x="3180773" y="330412"/>
                  <a:pt x="3206299" y="329734"/>
                  <a:pt x="3232118" y="331790"/>
                </a:cubicBezTo>
                <a:cubicBezTo>
                  <a:pt x="3255285" y="331712"/>
                  <a:pt x="3281067" y="333428"/>
                  <a:pt x="3306887" y="335484"/>
                </a:cubicBezTo>
                <a:cubicBezTo>
                  <a:pt x="3279274" y="336042"/>
                  <a:pt x="3251062" y="334244"/>
                  <a:pt x="3223143" y="335179"/>
                </a:cubicBezTo>
                <a:cubicBezTo>
                  <a:pt x="3221092" y="335400"/>
                  <a:pt x="3221092" y="335400"/>
                  <a:pt x="3218699" y="335659"/>
                </a:cubicBezTo>
                <a:cubicBezTo>
                  <a:pt x="3181512" y="337249"/>
                  <a:pt x="3181512" y="337249"/>
                  <a:pt x="3181512" y="337249"/>
                </a:cubicBezTo>
                <a:cubicBezTo>
                  <a:pt x="3169628" y="336110"/>
                  <a:pt x="3158344" y="337327"/>
                  <a:pt x="3144325" y="338839"/>
                </a:cubicBezTo>
                <a:cubicBezTo>
                  <a:pt x="3137227" y="337184"/>
                  <a:pt x="3159340" y="346556"/>
                  <a:pt x="3168571" y="345560"/>
                </a:cubicBezTo>
                <a:cubicBezTo>
                  <a:pt x="3207810" y="343749"/>
                  <a:pt x="3207810" y="343749"/>
                  <a:pt x="3207810" y="343749"/>
                </a:cubicBezTo>
                <a:cubicBezTo>
                  <a:pt x="3268386" y="344132"/>
                  <a:pt x="3326566" y="344772"/>
                  <a:pt x="3384012" y="338576"/>
                </a:cubicBezTo>
                <a:cubicBezTo>
                  <a:pt x="3391193" y="337802"/>
                  <a:pt x="3364894" y="331301"/>
                  <a:pt x="3362500" y="331561"/>
                </a:cubicBezTo>
                <a:cubicBezTo>
                  <a:pt x="3343557" y="329108"/>
                  <a:pt x="3343557" y="329108"/>
                  <a:pt x="3343557" y="329108"/>
                </a:cubicBezTo>
                <a:cubicBezTo>
                  <a:pt x="3373785" y="330343"/>
                  <a:pt x="3404391" y="331883"/>
                  <a:pt x="3437011" y="332861"/>
                </a:cubicBezTo>
                <a:cubicBezTo>
                  <a:pt x="3443850" y="332123"/>
                  <a:pt x="3422339" y="325107"/>
                  <a:pt x="3415279" y="323793"/>
                </a:cubicBezTo>
                <a:cubicBezTo>
                  <a:pt x="3384673" y="322253"/>
                  <a:pt x="3351795" y="318883"/>
                  <a:pt x="3318915" y="315514"/>
                </a:cubicBezTo>
                <a:cubicBezTo>
                  <a:pt x="3353930" y="316232"/>
                  <a:pt x="3389203" y="319343"/>
                  <a:pt x="3424254" y="320405"/>
                </a:cubicBezTo>
                <a:cubicBezTo>
                  <a:pt x="3438189" y="321322"/>
                  <a:pt x="3414283" y="314563"/>
                  <a:pt x="3406846" y="312945"/>
                </a:cubicBezTo>
                <a:cubicBezTo>
                  <a:pt x="3399748" y="311290"/>
                  <a:pt x="3395303" y="311769"/>
                  <a:pt x="3388207" y="310114"/>
                </a:cubicBezTo>
                <a:cubicBezTo>
                  <a:pt x="3395303" y="311769"/>
                  <a:pt x="3399748" y="311290"/>
                  <a:pt x="3404535" y="310774"/>
                </a:cubicBezTo>
                <a:cubicBezTo>
                  <a:pt x="3416077" y="311950"/>
                  <a:pt x="3404055" y="306331"/>
                  <a:pt x="3394566" y="304933"/>
                </a:cubicBezTo>
                <a:cubicBezTo>
                  <a:pt x="3403798" y="303937"/>
                  <a:pt x="3403798" y="303937"/>
                  <a:pt x="3403798" y="303937"/>
                </a:cubicBezTo>
                <a:cubicBezTo>
                  <a:pt x="3476174" y="307889"/>
                  <a:pt x="3476174" y="307889"/>
                  <a:pt x="3476174" y="307889"/>
                </a:cubicBezTo>
                <a:cubicBezTo>
                  <a:pt x="3469335" y="308626"/>
                  <a:pt x="3493459" y="317436"/>
                  <a:pt x="3498248" y="316919"/>
                </a:cubicBezTo>
                <a:cubicBezTo>
                  <a:pt x="3529692" y="318195"/>
                  <a:pt x="3561347" y="320659"/>
                  <a:pt x="3593075" y="323376"/>
                </a:cubicBezTo>
                <a:lnTo>
                  <a:pt x="3639886" y="327291"/>
                </a:lnTo>
                <a:lnTo>
                  <a:pt x="3638117" y="328586"/>
                </a:lnTo>
                <a:lnTo>
                  <a:pt x="3632759" y="331205"/>
                </a:lnTo>
                <a:lnTo>
                  <a:pt x="3552897" y="329698"/>
                </a:lnTo>
                <a:cubicBezTo>
                  <a:pt x="3511265" y="331767"/>
                  <a:pt x="3467360" y="332007"/>
                  <a:pt x="3427779" y="333857"/>
                </a:cubicBezTo>
                <a:cubicBezTo>
                  <a:pt x="3416496" y="335072"/>
                  <a:pt x="3440400" y="341830"/>
                  <a:pt x="3445104" y="343745"/>
                </a:cubicBezTo>
                <a:cubicBezTo>
                  <a:pt x="3464047" y="346197"/>
                  <a:pt x="3464047" y="346197"/>
                  <a:pt x="3464047" y="346197"/>
                </a:cubicBezTo>
                <a:cubicBezTo>
                  <a:pt x="3457208" y="346934"/>
                  <a:pt x="3447975" y="347930"/>
                  <a:pt x="3445842" y="350581"/>
                </a:cubicBezTo>
                <a:cubicBezTo>
                  <a:pt x="3441397" y="351060"/>
                  <a:pt x="3436608" y="351577"/>
                  <a:pt x="3434557" y="351797"/>
                </a:cubicBezTo>
                <a:cubicBezTo>
                  <a:pt x="3359704" y="350535"/>
                  <a:pt x="3283058" y="351886"/>
                  <a:pt x="3209026" y="355029"/>
                </a:cubicBezTo>
                <a:cubicBezTo>
                  <a:pt x="3199795" y="356025"/>
                  <a:pt x="3226093" y="362525"/>
                  <a:pt x="3230880" y="362008"/>
                </a:cubicBezTo>
                <a:cubicBezTo>
                  <a:pt x="3261401" y="365978"/>
                  <a:pt x="3292229" y="369569"/>
                  <a:pt x="3322457" y="370804"/>
                </a:cubicBezTo>
                <a:cubicBezTo>
                  <a:pt x="3320064" y="371064"/>
                  <a:pt x="3320322" y="373455"/>
                  <a:pt x="3318270" y="373677"/>
                </a:cubicBezTo>
                <a:cubicBezTo>
                  <a:pt x="3276076" y="373731"/>
                  <a:pt x="3234185" y="373410"/>
                  <a:pt x="3190759" y="378093"/>
                </a:cubicBezTo>
                <a:cubicBezTo>
                  <a:pt x="3181270" y="376696"/>
                  <a:pt x="3205174" y="383454"/>
                  <a:pt x="3212270" y="385110"/>
                </a:cubicBezTo>
                <a:cubicBezTo>
                  <a:pt x="3233608" y="387302"/>
                  <a:pt x="3254383" y="387483"/>
                  <a:pt x="3277772" y="389456"/>
                </a:cubicBezTo>
                <a:cubicBezTo>
                  <a:pt x="3269138" y="392808"/>
                  <a:pt x="3259909" y="393803"/>
                  <a:pt x="3250932" y="397192"/>
                </a:cubicBezTo>
                <a:cubicBezTo>
                  <a:pt x="3234604" y="396533"/>
                  <a:pt x="3234604" y="396533"/>
                  <a:pt x="3234604" y="396533"/>
                </a:cubicBezTo>
                <a:cubicBezTo>
                  <a:pt x="3231951" y="394398"/>
                  <a:pt x="3219847" y="391208"/>
                  <a:pt x="3212750" y="389553"/>
                </a:cubicBezTo>
                <a:cubicBezTo>
                  <a:pt x="3166710" y="392443"/>
                  <a:pt x="3122426" y="392380"/>
                  <a:pt x="3078661" y="397100"/>
                </a:cubicBezTo>
                <a:cubicBezTo>
                  <a:pt x="3069427" y="398096"/>
                  <a:pt x="3091279" y="405074"/>
                  <a:pt x="3093332" y="404853"/>
                </a:cubicBezTo>
                <a:lnTo>
                  <a:pt x="3085553" y="405692"/>
                </a:lnTo>
                <a:cubicBezTo>
                  <a:pt x="3084100" y="405849"/>
                  <a:pt x="3084100" y="405849"/>
                  <a:pt x="3084100" y="405849"/>
                </a:cubicBezTo>
                <a:cubicBezTo>
                  <a:pt x="3079655" y="406329"/>
                  <a:pt x="3079655" y="406329"/>
                  <a:pt x="3082307" y="408463"/>
                </a:cubicBezTo>
                <a:cubicBezTo>
                  <a:pt x="3042468" y="407918"/>
                  <a:pt x="3003007" y="407680"/>
                  <a:pt x="2961377" y="409749"/>
                </a:cubicBezTo>
                <a:cubicBezTo>
                  <a:pt x="2954317" y="408436"/>
                  <a:pt x="2971125" y="413539"/>
                  <a:pt x="2973397" y="415369"/>
                </a:cubicBezTo>
                <a:cubicBezTo>
                  <a:pt x="2997388" y="419697"/>
                  <a:pt x="3023464" y="424146"/>
                  <a:pt x="3053691" y="425381"/>
                </a:cubicBezTo>
                <a:cubicBezTo>
                  <a:pt x="3009187" y="423266"/>
                  <a:pt x="2965245" y="423163"/>
                  <a:pt x="2921256" y="425833"/>
                </a:cubicBezTo>
                <a:cubicBezTo>
                  <a:pt x="2923872" y="427626"/>
                  <a:pt x="2938322" y="433330"/>
                  <a:pt x="2942768" y="432851"/>
                </a:cubicBezTo>
                <a:cubicBezTo>
                  <a:pt x="3018101" y="438556"/>
                  <a:pt x="3095261" y="441991"/>
                  <a:pt x="3171909" y="440641"/>
                </a:cubicBezTo>
                <a:cubicBezTo>
                  <a:pt x="3172167" y="443032"/>
                  <a:pt x="3181535" y="446518"/>
                  <a:pt x="3191026" y="447915"/>
                </a:cubicBezTo>
                <a:cubicBezTo>
                  <a:pt x="3144691" y="448071"/>
                  <a:pt x="3097793" y="446213"/>
                  <a:pt x="3054027" y="450933"/>
                </a:cubicBezTo>
                <a:cubicBezTo>
                  <a:pt x="3065909" y="452072"/>
                  <a:pt x="3075142" y="451078"/>
                  <a:pt x="3084375" y="450081"/>
                </a:cubicBezTo>
                <a:cubicBezTo>
                  <a:pt x="3063516" y="452330"/>
                  <a:pt x="3040607" y="454801"/>
                  <a:pt x="3017696" y="457272"/>
                </a:cubicBezTo>
                <a:cubicBezTo>
                  <a:pt x="3022400" y="459187"/>
                  <a:pt x="3036899" y="462118"/>
                  <a:pt x="3041602" y="464032"/>
                </a:cubicBezTo>
                <a:cubicBezTo>
                  <a:pt x="3046046" y="463552"/>
                  <a:pt x="3050835" y="463036"/>
                  <a:pt x="3055537" y="464949"/>
                </a:cubicBezTo>
                <a:cubicBezTo>
                  <a:pt x="3037415" y="466904"/>
                  <a:pt x="3037415" y="466904"/>
                  <a:pt x="3037415" y="466904"/>
                </a:cubicBezTo>
                <a:cubicBezTo>
                  <a:pt x="3072430" y="467622"/>
                  <a:pt x="3109275" y="466068"/>
                  <a:pt x="3146682" y="466529"/>
                </a:cubicBezTo>
                <a:cubicBezTo>
                  <a:pt x="3139843" y="467267"/>
                  <a:pt x="3133005" y="468003"/>
                  <a:pt x="3125824" y="468779"/>
                </a:cubicBezTo>
                <a:cubicBezTo>
                  <a:pt x="3172243" y="466193"/>
                  <a:pt x="3218542" y="465695"/>
                  <a:pt x="3262825" y="465760"/>
                </a:cubicBezTo>
                <a:lnTo>
                  <a:pt x="3265218" y="465501"/>
                </a:lnTo>
                <a:lnTo>
                  <a:pt x="3268726" y="466855"/>
                </a:lnTo>
                <a:lnTo>
                  <a:pt x="3264627" y="471041"/>
                </a:lnTo>
                <a:cubicBezTo>
                  <a:pt x="3258835" y="474591"/>
                  <a:pt x="3248081" y="473020"/>
                  <a:pt x="3239594" y="473976"/>
                </a:cubicBezTo>
                <a:cubicBezTo>
                  <a:pt x="3235381" y="475741"/>
                  <a:pt x="3230825" y="479104"/>
                  <a:pt x="3225993" y="482106"/>
                </a:cubicBezTo>
                <a:lnTo>
                  <a:pt x="3213945" y="486815"/>
                </a:lnTo>
                <a:lnTo>
                  <a:pt x="3206854" y="485628"/>
                </a:lnTo>
                <a:cubicBezTo>
                  <a:pt x="3192956" y="485052"/>
                  <a:pt x="3181331" y="486306"/>
                  <a:pt x="3167394" y="485389"/>
                </a:cubicBezTo>
                <a:cubicBezTo>
                  <a:pt x="3167394" y="485389"/>
                  <a:pt x="3167394" y="485389"/>
                  <a:pt x="3165000" y="485647"/>
                </a:cubicBezTo>
                <a:cubicBezTo>
                  <a:pt x="3139698" y="488376"/>
                  <a:pt x="3112003" y="491363"/>
                  <a:pt x="3086700" y="494092"/>
                </a:cubicBezTo>
                <a:lnTo>
                  <a:pt x="3191099" y="493001"/>
                </a:lnTo>
                <a:lnTo>
                  <a:pt x="3187676" y="495507"/>
                </a:lnTo>
                <a:cubicBezTo>
                  <a:pt x="3183858" y="498336"/>
                  <a:pt x="3180118" y="500628"/>
                  <a:pt x="3175849" y="501285"/>
                </a:cubicBezTo>
                <a:cubicBezTo>
                  <a:pt x="3170372" y="502683"/>
                  <a:pt x="3162512" y="499338"/>
                  <a:pt x="3157037" y="500735"/>
                </a:cubicBezTo>
                <a:cubicBezTo>
                  <a:pt x="3155588" y="501621"/>
                  <a:pt x="3153864" y="503659"/>
                  <a:pt x="3152137" y="505695"/>
                </a:cubicBezTo>
                <a:lnTo>
                  <a:pt x="3148801" y="509073"/>
                </a:lnTo>
                <a:lnTo>
                  <a:pt x="3134592" y="505180"/>
                </a:lnTo>
                <a:cubicBezTo>
                  <a:pt x="3071623" y="505055"/>
                  <a:pt x="3071623" y="505055"/>
                  <a:pt x="3071623" y="505055"/>
                </a:cubicBezTo>
                <a:cubicBezTo>
                  <a:pt x="3030249" y="509517"/>
                  <a:pt x="3030249" y="509517"/>
                  <a:pt x="3030249" y="509517"/>
                </a:cubicBezTo>
                <a:lnTo>
                  <a:pt x="3027856" y="509774"/>
                </a:lnTo>
                <a:cubicBezTo>
                  <a:pt x="3037309" y="510831"/>
                  <a:pt x="3037309" y="510831"/>
                  <a:pt x="3037309" y="510831"/>
                </a:cubicBezTo>
                <a:cubicBezTo>
                  <a:pt x="3021017" y="510513"/>
                  <a:pt x="3002553" y="512504"/>
                  <a:pt x="2984088" y="514496"/>
                </a:cubicBezTo>
                <a:cubicBezTo>
                  <a:pt x="2977250" y="515234"/>
                  <a:pt x="2986962" y="518681"/>
                  <a:pt x="2996451" y="520079"/>
                </a:cubicBezTo>
                <a:cubicBezTo>
                  <a:pt x="3019841" y="522051"/>
                  <a:pt x="3043350" y="521936"/>
                  <a:pt x="3064124" y="522116"/>
                </a:cubicBezTo>
                <a:cubicBezTo>
                  <a:pt x="3068910" y="521600"/>
                  <a:pt x="3070963" y="521379"/>
                  <a:pt x="3073356" y="521119"/>
                </a:cubicBezTo>
                <a:cubicBezTo>
                  <a:pt x="3075972" y="522913"/>
                  <a:pt x="3078365" y="522654"/>
                  <a:pt x="3080418" y="522433"/>
                </a:cubicBezTo>
                <a:cubicBezTo>
                  <a:pt x="3078365" y="522654"/>
                  <a:pt x="3075972" y="522913"/>
                  <a:pt x="3071184" y="523430"/>
                </a:cubicBezTo>
                <a:cubicBezTo>
                  <a:pt x="3069132" y="523650"/>
                  <a:pt x="3066995" y="526301"/>
                  <a:pt x="3064604" y="526559"/>
                </a:cubicBezTo>
                <a:cubicBezTo>
                  <a:pt x="3041694" y="529029"/>
                  <a:pt x="3020836" y="531279"/>
                  <a:pt x="2997926" y="533752"/>
                </a:cubicBezTo>
                <a:cubicBezTo>
                  <a:pt x="3016907" y="536545"/>
                  <a:pt x="3035593" y="536604"/>
                  <a:pt x="3053974" y="537042"/>
                </a:cubicBezTo>
                <a:cubicBezTo>
                  <a:pt x="3031063" y="539513"/>
                  <a:pt x="3007897" y="539592"/>
                  <a:pt x="2984765" y="540012"/>
                </a:cubicBezTo>
                <a:cubicBezTo>
                  <a:pt x="2989432" y="541583"/>
                  <a:pt x="2996528" y="543239"/>
                  <a:pt x="2998922" y="542981"/>
                </a:cubicBezTo>
                <a:cubicBezTo>
                  <a:pt x="3015252" y="543639"/>
                  <a:pt x="3015252" y="543639"/>
                  <a:pt x="3015252" y="543639"/>
                </a:cubicBezTo>
                <a:cubicBezTo>
                  <a:pt x="2987554" y="546628"/>
                  <a:pt x="2962251" y="549356"/>
                  <a:pt x="2937291" y="552048"/>
                </a:cubicBezTo>
                <a:cubicBezTo>
                  <a:pt x="2944129" y="551311"/>
                  <a:pt x="2953583" y="552366"/>
                  <a:pt x="2960421" y="551627"/>
                </a:cubicBezTo>
                <a:cubicBezTo>
                  <a:pt x="2962473" y="551407"/>
                  <a:pt x="2967517" y="553283"/>
                  <a:pt x="2969911" y="553026"/>
                </a:cubicBezTo>
                <a:cubicBezTo>
                  <a:pt x="2981196" y="551808"/>
                  <a:pt x="2990686" y="553205"/>
                  <a:pt x="3002310" y="551951"/>
                </a:cubicBezTo>
                <a:cubicBezTo>
                  <a:pt x="2990686" y="553205"/>
                  <a:pt x="2990686" y="553205"/>
                  <a:pt x="2990686" y="553205"/>
                </a:cubicBezTo>
                <a:cubicBezTo>
                  <a:pt x="2983762" y="553952"/>
                  <a:pt x="2996823" y="557794"/>
                  <a:pt x="3005807" y="559451"/>
                </a:cubicBezTo>
                <a:lnTo>
                  <a:pt x="3007061" y="559589"/>
                </a:lnTo>
                <a:lnTo>
                  <a:pt x="3002744" y="562884"/>
                </a:lnTo>
                <a:cubicBezTo>
                  <a:pt x="2999307" y="565357"/>
                  <a:pt x="2995719" y="567740"/>
                  <a:pt x="2992686" y="569322"/>
                </a:cubicBezTo>
                <a:lnTo>
                  <a:pt x="2987231" y="570652"/>
                </a:lnTo>
                <a:lnTo>
                  <a:pt x="2986063" y="570727"/>
                </a:lnTo>
                <a:lnTo>
                  <a:pt x="2988509" y="564832"/>
                </a:lnTo>
                <a:cubicBezTo>
                  <a:pt x="2990489" y="562558"/>
                  <a:pt x="2992752" y="560600"/>
                  <a:pt x="2992752" y="560600"/>
                </a:cubicBezTo>
                <a:cubicBezTo>
                  <a:pt x="2984694" y="561621"/>
                  <a:pt x="2986908" y="564507"/>
                  <a:pt x="2977792" y="569767"/>
                </a:cubicBezTo>
                <a:cubicBezTo>
                  <a:pt x="2972316" y="571164"/>
                  <a:pt x="2967154" y="570411"/>
                  <a:pt x="2961195" y="572103"/>
                </a:cubicBezTo>
                <a:lnTo>
                  <a:pt x="2960638" y="572377"/>
                </a:lnTo>
                <a:lnTo>
                  <a:pt x="2911806" y="575544"/>
                </a:lnTo>
                <a:cubicBezTo>
                  <a:pt x="2906799" y="574010"/>
                  <a:pt x="2899959" y="574748"/>
                  <a:pt x="2892862" y="573092"/>
                </a:cubicBezTo>
                <a:cubicBezTo>
                  <a:pt x="2879184" y="574567"/>
                  <a:pt x="2862773" y="576339"/>
                  <a:pt x="2849096" y="577812"/>
                </a:cubicBezTo>
                <a:cubicBezTo>
                  <a:pt x="2846443" y="575678"/>
                  <a:pt x="2844391" y="575900"/>
                  <a:pt x="2841741" y="573765"/>
                </a:cubicBezTo>
                <a:lnTo>
                  <a:pt x="2853366" y="572512"/>
                </a:lnTo>
                <a:cubicBezTo>
                  <a:pt x="2855418" y="572289"/>
                  <a:pt x="2857811" y="572032"/>
                  <a:pt x="2857811" y="572032"/>
                </a:cubicBezTo>
                <a:lnTo>
                  <a:pt x="2871488" y="570557"/>
                </a:lnTo>
                <a:cubicBezTo>
                  <a:pt x="2885508" y="569045"/>
                  <a:pt x="2894739" y="568049"/>
                  <a:pt x="2898964" y="565517"/>
                </a:cubicBezTo>
                <a:cubicBezTo>
                  <a:pt x="2903750" y="565002"/>
                  <a:pt x="2908417" y="566573"/>
                  <a:pt x="2910811" y="566315"/>
                </a:cubicBezTo>
                <a:cubicBezTo>
                  <a:pt x="2917649" y="565578"/>
                  <a:pt x="2927139" y="566975"/>
                  <a:pt x="2936371" y="565980"/>
                </a:cubicBezTo>
                <a:cubicBezTo>
                  <a:pt x="2938506" y="563328"/>
                  <a:pt x="2921357" y="558261"/>
                  <a:pt x="2912465" y="559221"/>
                </a:cubicBezTo>
                <a:cubicBezTo>
                  <a:pt x="2866048" y="561806"/>
                  <a:pt x="2822058" y="564476"/>
                  <a:pt x="2778513" y="571249"/>
                </a:cubicBezTo>
                <a:cubicBezTo>
                  <a:pt x="2771675" y="571985"/>
                  <a:pt x="2786126" y="577688"/>
                  <a:pt x="2793527" y="578966"/>
                </a:cubicBezTo>
                <a:cubicBezTo>
                  <a:pt x="2770054" y="579422"/>
                  <a:pt x="2744752" y="582151"/>
                  <a:pt x="2722064" y="586673"/>
                </a:cubicBezTo>
                <a:cubicBezTo>
                  <a:pt x="2716936" y="587226"/>
                  <a:pt x="2729098" y="591166"/>
                  <a:pt x="2737520" y="592884"/>
                </a:cubicBezTo>
                <a:lnTo>
                  <a:pt x="2743221" y="593569"/>
                </a:lnTo>
                <a:lnTo>
                  <a:pt x="2735683" y="594281"/>
                </a:lnTo>
                <a:cubicBezTo>
                  <a:pt x="2729329" y="594707"/>
                  <a:pt x="2722949" y="594876"/>
                  <a:pt x="2716000" y="594589"/>
                </a:cubicBezTo>
                <a:cubicBezTo>
                  <a:pt x="2720666" y="596160"/>
                  <a:pt x="2728105" y="597778"/>
                  <a:pt x="2732808" y="599692"/>
                </a:cubicBezTo>
                <a:cubicBezTo>
                  <a:pt x="2691433" y="604154"/>
                  <a:pt x="2691433" y="604154"/>
                  <a:pt x="2691433" y="604154"/>
                </a:cubicBezTo>
                <a:cubicBezTo>
                  <a:pt x="2667199" y="605557"/>
                  <a:pt x="2643476" y="606906"/>
                  <a:pt x="2620087" y="608521"/>
                </a:cubicBezTo>
                <a:lnTo>
                  <a:pt x="2558358" y="613833"/>
                </a:lnTo>
                <a:lnTo>
                  <a:pt x="2557564" y="613752"/>
                </a:lnTo>
                <a:cubicBezTo>
                  <a:pt x="2557564" y="613752"/>
                  <a:pt x="2557564" y="613752"/>
                  <a:pt x="2555171" y="614009"/>
                </a:cubicBezTo>
                <a:cubicBezTo>
                  <a:pt x="2555171" y="614009"/>
                  <a:pt x="2552776" y="614268"/>
                  <a:pt x="2550725" y="614490"/>
                </a:cubicBezTo>
                <a:lnTo>
                  <a:pt x="2558358" y="613833"/>
                </a:lnTo>
                <a:lnTo>
                  <a:pt x="2567663" y="614780"/>
                </a:lnTo>
                <a:cubicBezTo>
                  <a:pt x="2569105" y="614928"/>
                  <a:pt x="2569105" y="614928"/>
                  <a:pt x="2569105" y="614928"/>
                </a:cubicBezTo>
                <a:cubicBezTo>
                  <a:pt x="2559615" y="613531"/>
                  <a:pt x="2550725" y="614490"/>
                  <a:pt x="2541751" y="617878"/>
                </a:cubicBezTo>
                <a:cubicBezTo>
                  <a:pt x="2534912" y="618615"/>
                  <a:pt x="2544061" y="620050"/>
                  <a:pt x="2551499" y="621667"/>
                </a:cubicBezTo>
                <a:cubicBezTo>
                  <a:pt x="2530643" y="623917"/>
                  <a:pt x="2507732" y="626389"/>
                  <a:pt x="2487096" y="630689"/>
                </a:cubicBezTo>
                <a:cubicBezTo>
                  <a:pt x="2480257" y="631426"/>
                  <a:pt x="2489747" y="632823"/>
                  <a:pt x="2499239" y="634220"/>
                </a:cubicBezTo>
                <a:cubicBezTo>
                  <a:pt x="2462308" y="638204"/>
                  <a:pt x="2462308" y="638204"/>
                  <a:pt x="2462308" y="638204"/>
                </a:cubicBezTo>
                <a:cubicBezTo>
                  <a:pt x="2459915" y="638461"/>
                  <a:pt x="2459915" y="638461"/>
                  <a:pt x="2462530" y="640253"/>
                </a:cubicBezTo>
                <a:cubicBezTo>
                  <a:pt x="2478602" y="638521"/>
                  <a:pt x="2492621" y="637008"/>
                  <a:pt x="2508690" y="635275"/>
                </a:cubicBezTo>
                <a:cubicBezTo>
                  <a:pt x="2538438" y="632067"/>
                  <a:pt x="2568529" y="628821"/>
                  <a:pt x="2598277" y="625613"/>
                </a:cubicBezTo>
                <a:cubicBezTo>
                  <a:pt x="2603322" y="627488"/>
                  <a:pt x="2603322" y="627488"/>
                  <a:pt x="2603322" y="627488"/>
                </a:cubicBezTo>
                <a:cubicBezTo>
                  <a:pt x="2596142" y="628264"/>
                  <a:pt x="2586909" y="629260"/>
                  <a:pt x="2580071" y="629998"/>
                </a:cubicBezTo>
                <a:cubicBezTo>
                  <a:pt x="2570838" y="630994"/>
                  <a:pt x="2592434" y="635580"/>
                  <a:pt x="2594827" y="635321"/>
                </a:cubicBezTo>
                <a:cubicBezTo>
                  <a:pt x="2604318" y="636719"/>
                  <a:pt x="2613550" y="635722"/>
                  <a:pt x="2620645" y="637378"/>
                </a:cubicBezTo>
                <a:cubicBezTo>
                  <a:pt x="2595086" y="637714"/>
                  <a:pt x="2567390" y="640701"/>
                  <a:pt x="2542086" y="643431"/>
                </a:cubicBezTo>
                <a:cubicBezTo>
                  <a:pt x="2514390" y="646417"/>
                  <a:pt x="2489086" y="649147"/>
                  <a:pt x="2461648" y="654527"/>
                </a:cubicBezTo>
                <a:cubicBezTo>
                  <a:pt x="2452758" y="655486"/>
                  <a:pt x="2476405" y="659851"/>
                  <a:pt x="2480850" y="659372"/>
                </a:cubicBezTo>
                <a:cubicBezTo>
                  <a:pt x="2504358" y="659257"/>
                  <a:pt x="2529663" y="656527"/>
                  <a:pt x="2552830" y="656449"/>
                </a:cubicBezTo>
                <a:cubicBezTo>
                  <a:pt x="2575740" y="653979"/>
                  <a:pt x="2601264" y="653300"/>
                  <a:pt x="2624173" y="650830"/>
                </a:cubicBezTo>
                <a:cubicBezTo>
                  <a:pt x="2598870" y="653559"/>
                  <a:pt x="2571516" y="656509"/>
                  <a:pt x="2546213" y="659237"/>
                </a:cubicBezTo>
                <a:cubicBezTo>
                  <a:pt x="2543819" y="659496"/>
                  <a:pt x="2541425" y="659754"/>
                  <a:pt x="2541425" y="659754"/>
                </a:cubicBezTo>
                <a:cubicBezTo>
                  <a:pt x="2505096" y="666093"/>
                  <a:pt x="2505096" y="666093"/>
                  <a:pt x="2505096" y="666093"/>
                </a:cubicBezTo>
                <a:cubicBezTo>
                  <a:pt x="2495864" y="667089"/>
                  <a:pt x="2484496" y="670735"/>
                  <a:pt x="2472871" y="671989"/>
                </a:cubicBezTo>
                <a:cubicBezTo>
                  <a:pt x="2466032" y="672727"/>
                  <a:pt x="2485235" y="677572"/>
                  <a:pt x="2494467" y="676576"/>
                </a:cubicBezTo>
                <a:cubicBezTo>
                  <a:pt x="2531137" y="670200"/>
                  <a:pt x="2531137" y="670200"/>
                  <a:pt x="2531137" y="670200"/>
                </a:cubicBezTo>
                <a:cubicBezTo>
                  <a:pt x="2588581" y="664003"/>
                  <a:pt x="2643891" y="660460"/>
                  <a:pt x="2698545" y="647649"/>
                </a:cubicBezTo>
                <a:cubicBezTo>
                  <a:pt x="2703675" y="647096"/>
                  <a:pt x="2690310" y="644648"/>
                  <a:pt x="2681178" y="642666"/>
                </a:cubicBezTo>
                <a:lnTo>
                  <a:pt x="2675625" y="641263"/>
                </a:lnTo>
                <a:lnTo>
                  <a:pt x="2702255" y="639122"/>
                </a:lnTo>
                <a:cubicBezTo>
                  <a:pt x="2716723" y="638168"/>
                  <a:pt x="2731148" y="637216"/>
                  <a:pt x="2746022" y="635613"/>
                </a:cubicBezTo>
                <a:cubicBezTo>
                  <a:pt x="2755252" y="634617"/>
                  <a:pt x="2731571" y="629910"/>
                  <a:pt x="2726561" y="628376"/>
                </a:cubicBezTo>
                <a:cubicBezTo>
                  <a:pt x="2696555" y="629191"/>
                  <a:pt x="2663814" y="630301"/>
                  <a:pt x="2633809" y="631116"/>
                </a:cubicBezTo>
                <a:cubicBezTo>
                  <a:pt x="2668344" y="627392"/>
                  <a:pt x="2700743" y="626318"/>
                  <a:pt x="2733143" y="625245"/>
                </a:cubicBezTo>
                <a:cubicBezTo>
                  <a:pt x="2747161" y="623732"/>
                  <a:pt x="2723171" y="619403"/>
                  <a:pt x="2716075" y="617749"/>
                </a:cubicBezTo>
                <a:lnTo>
                  <a:pt x="2711630" y="618227"/>
                </a:lnTo>
                <a:cubicBezTo>
                  <a:pt x="2708978" y="616093"/>
                  <a:pt x="2704276" y="614180"/>
                  <a:pt x="2699490" y="614696"/>
                </a:cubicBezTo>
                <a:cubicBezTo>
                  <a:pt x="2704276" y="614180"/>
                  <a:pt x="2706326" y="613960"/>
                  <a:pt x="2711115" y="613442"/>
                </a:cubicBezTo>
                <a:cubicBezTo>
                  <a:pt x="2708721" y="613702"/>
                  <a:pt x="2706106" y="611909"/>
                  <a:pt x="2704054" y="612129"/>
                </a:cubicBezTo>
                <a:cubicBezTo>
                  <a:pt x="2713287" y="611133"/>
                  <a:pt x="2713287" y="611133"/>
                  <a:pt x="2713287" y="611133"/>
                </a:cubicBezTo>
                <a:cubicBezTo>
                  <a:pt x="2782236" y="605772"/>
                  <a:pt x="2782236" y="605772"/>
                  <a:pt x="2782236" y="605772"/>
                </a:cubicBezTo>
                <a:cubicBezTo>
                  <a:pt x="2778049" y="608644"/>
                  <a:pt x="2782752" y="610558"/>
                  <a:pt x="2789850" y="612213"/>
                </a:cubicBezTo>
                <a:cubicBezTo>
                  <a:pt x="2806263" y="610442"/>
                  <a:pt x="2822555" y="610759"/>
                  <a:pt x="2838626" y="609027"/>
                </a:cubicBezTo>
                <a:cubicBezTo>
                  <a:pt x="2841018" y="608768"/>
                  <a:pt x="2841276" y="611160"/>
                  <a:pt x="2843329" y="610938"/>
                </a:cubicBezTo>
                <a:cubicBezTo>
                  <a:pt x="2832044" y="612157"/>
                  <a:pt x="2820160" y="611018"/>
                  <a:pt x="2810929" y="612013"/>
                </a:cubicBezTo>
                <a:lnTo>
                  <a:pt x="2887221" y="609995"/>
                </a:lnTo>
                <a:lnTo>
                  <a:pt x="2884495" y="612901"/>
                </a:lnTo>
                <a:cubicBezTo>
                  <a:pt x="2881916" y="612524"/>
                  <a:pt x="2871159" y="610953"/>
                  <a:pt x="2870845" y="613105"/>
                </a:cubicBezTo>
                <a:cubicBezTo>
                  <a:pt x="2871569" y="612661"/>
                  <a:pt x="2871344" y="614208"/>
                  <a:pt x="2870519" y="616696"/>
                </a:cubicBezTo>
                <a:lnTo>
                  <a:pt x="2869161" y="619910"/>
                </a:lnTo>
                <a:lnTo>
                  <a:pt x="2863976" y="620469"/>
                </a:lnTo>
                <a:lnTo>
                  <a:pt x="2865368" y="614501"/>
                </a:lnTo>
                <a:lnTo>
                  <a:pt x="2860092" y="620889"/>
                </a:lnTo>
                <a:lnTo>
                  <a:pt x="2856208" y="621307"/>
                </a:lnTo>
                <a:cubicBezTo>
                  <a:pt x="2817227" y="625512"/>
                  <a:pt x="2775769" y="632404"/>
                  <a:pt x="2737011" y="638658"/>
                </a:cubicBezTo>
                <a:cubicBezTo>
                  <a:pt x="2727779" y="639655"/>
                  <a:pt x="2751425" y="644021"/>
                  <a:pt x="2753819" y="643762"/>
                </a:cubicBezTo>
                <a:cubicBezTo>
                  <a:pt x="2775193" y="646297"/>
                  <a:pt x="2775193" y="646297"/>
                  <a:pt x="2775193" y="646297"/>
                </a:cubicBezTo>
                <a:cubicBezTo>
                  <a:pt x="2765960" y="647294"/>
                  <a:pt x="2759342" y="650082"/>
                  <a:pt x="2756949" y="650340"/>
                </a:cubicBezTo>
                <a:cubicBezTo>
                  <a:pt x="2752420" y="653249"/>
                  <a:pt x="2750369" y="653470"/>
                  <a:pt x="2745581" y="653988"/>
                </a:cubicBezTo>
                <a:cubicBezTo>
                  <a:pt x="2674460" y="661658"/>
                  <a:pt x="2605391" y="669107"/>
                  <a:pt x="2534441" y="681601"/>
                </a:cubicBezTo>
                <a:cubicBezTo>
                  <a:pt x="2525210" y="682596"/>
                  <a:pt x="2551251" y="686704"/>
                  <a:pt x="2556296" y="688581"/>
                </a:cubicBezTo>
                <a:cubicBezTo>
                  <a:pt x="2584212" y="687643"/>
                  <a:pt x="2614219" y="686828"/>
                  <a:pt x="2642173" y="686233"/>
                </a:cubicBezTo>
                <a:cubicBezTo>
                  <a:pt x="2642173" y="686233"/>
                  <a:pt x="2642395" y="688284"/>
                  <a:pt x="2640002" y="688543"/>
                </a:cubicBezTo>
                <a:cubicBezTo>
                  <a:pt x="2601021" y="692746"/>
                  <a:pt x="2559646" y="697209"/>
                  <a:pt x="2520842" y="706235"/>
                </a:cubicBezTo>
                <a:cubicBezTo>
                  <a:pt x="2509558" y="707453"/>
                  <a:pt x="2535599" y="711561"/>
                  <a:pt x="2540043" y="711081"/>
                </a:cubicBezTo>
                <a:cubicBezTo>
                  <a:pt x="2561159" y="711224"/>
                  <a:pt x="2581674" y="709011"/>
                  <a:pt x="2602791" y="709155"/>
                </a:cubicBezTo>
                <a:cubicBezTo>
                  <a:pt x="2595830" y="711979"/>
                  <a:pt x="2587198" y="715331"/>
                  <a:pt x="2578225" y="718719"/>
                </a:cubicBezTo>
                <a:cubicBezTo>
                  <a:pt x="2564205" y="720232"/>
                  <a:pt x="2564205" y="720232"/>
                  <a:pt x="2564205" y="720232"/>
                </a:cubicBezTo>
                <a:cubicBezTo>
                  <a:pt x="2559503" y="718318"/>
                  <a:pt x="2549792" y="714871"/>
                  <a:pt x="2540781" y="717917"/>
                </a:cubicBezTo>
                <a:cubicBezTo>
                  <a:pt x="2497013" y="722638"/>
                  <a:pt x="2458033" y="726843"/>
                  <a:pt x="2417433" y="738483"/>
                </a:cubicBezTo>
                <a:cubicBezTo>
                  <a:pt x="2408201" y="739478"/>
                  <a:pt x="2427402" y="744324"/>
                  <a:pt x="2431848" y="743845"/>
                </a:cubicBezTo>
                <a:cubicBezTo>
                  <a:pt x="2422615" y="744840"/>
                  <a:pt x="2422615" y="744840"/>
                  <a:pt x="2422615" y="744840"/>
                </a:cubicBezTo>
                <a:cubicBezTo>
                  <a:pt x="2418171" y="745320"/>
                  <a:pt x="2418391" y="747370"/>
                  <a:pt x="2420784" y="747112"/>
                </a:cubicBezTo>
                <a:cubicBezTo>
                  <a:pt x="2383856" y="751094"/>
                  <a:pt x="2344876" y="755300"/>
                  <a:pt x="2308205" y="761675"/>
                </a:cubicBezTo>
                <a:cubicBezTo>
                  <a:pt x="2298973" y="762671"/>
                  <a:pt x="2317954" y="765465"/>
                  <a:pt x="2317954" y="765465"/>
                </a:cubicBezTo>
                <a:cubicBezTo>
                  <a:pt x="2341600" y="769830"/>
                  <a:pt x="2367162" y="769493"/>
                  <a:pt x="2394858" y="766506"/>
                </a:cubicBezTo>
                <a:cubicBezTo>
                  <a:pt x="2353484" y="770969"/>
                  <a:pt x="2312110" y="775431"/>
                  <a:pt x="2270617" y="781981"/>
                </a:cubicBezTo>
                <a:cubicBezTo>
                  <a:pt x="2263776" y="782719"/>
                  <a:pt x="2285410" y="787647"/>
                  <a:pt x="2292249" y="786910"/>
                </a:cubicBezTo>
                <a:cubicBezTo>
                  <a:pt x="2364191" y="783646"/>
                  <a:pt x="2435571" y="778368"/>
                  <a:pt x="2509086" y="770438"/>
                </a:cubicBezTo>
                <a:cubicBezTo>
                  <a:pt x="2509307" y="772489"/>
                  <a:pt x="2519056" y="776278"/>
                  <a:pt x="2528290" y="775283"/>
                </a:cubicBezTo>
                <a:cubicBezTo>
                  <a:pt x="2470844" y="781478"/>
                  <a:pt x="2413398" y="787674"/>
                  <a:pt x="2366182" y="802104"/>
                </a:cubicBezTo>
                <a:cubicBezTo>
                  <a:pt x="2359001" y="802879"/>
                  <a:pt x="2385041" y="806986"/>
                  <a:pt x="2387436" y="806726"/>
                </a:cubicBezTo>
                <a:cubicBezTo>
                  <a:pt x="2401371" y="807645"/>
                  <a:pt x="2401371" y="807645"/>
                  <a:pt x="2401371" y="807645"/>
                </a:cubicBezTo>
                <a:cubicBezTo>
                  <a:pt x="2385300" y="809379"/>
                  <a:pt x="2385300" y="809379"/>
                  <a:pt x="2385300" y="809379"/>
                </a:cubicBezTo>
                <a:cubicBezTo>
                  <a:pt x="2378681" y="812166"/>
                  <a:pt x="2402330" y="816532"/>
                  <a:pt x="2407117" y="816016"/>
                </a:cubicBezTo>
                <a:cubicBezTo>
                  <a:pt x="2427973" y="813766"/>
                  <a:pt x="2446355" y="814205"/>
                  <a:pt x="2469347" y="809303"/>
                </a:cubicBezTo>
                <a:cubicBezTo>
                  <a:pt x="2473794" y="808824"/>
                  <a:pt x="2464340" y="807769"/>
                  <a:pt x="2454850" y="806372"/>
                </a:cubicBezTo>
                <a:cubicBezTo>
                  <a:pt x="2502584" y="796729"/>
                  <a:pt x="2551138" y="791492"/>
                  <a:pt x="2596957" y="786550"/>
                </a:cubicBezTo>
                <a:cubicBezTo>
                  <a:pt x="2599349" y="786291"/>
                  <a:pt x="2599349" y="786291"/>
                  <a:pt x="2599349" y="786291"/>
                </a:cubicBezTo>
                <a:cubicBezTo>
                  <a:pt x="2604016" y="787863"/>
                  <a:pt x="2618294" y="788743"/>
                  <a:pt x="2622738" y="788264"/>
                </a:cubicBezTo>
                <a:cubicBezTo>
                  <a:pt x="2664370" y="786194"/>
                  <a:pt x="2703692" y="781952"/>
                  <a:pt x="2745287" y="779543"/>
                </a:cubicBezTo>
                <a:cubicBezTo>
                  <a:pt x="2699643" y="789306"/>
                  <a:pt x="2651689" y="796899"/>
                  <a:pt x="2608399" y="806063"/>
                </a:cubicBezTo>
                <a:cubicBezTo>
                  <a:pt x="2601561" y="806800"/>
                  <a:pt x="2625465" y="813558"/>
                  <a:pt x="2630254" y="813043"/>
                </a:cubicBezTo>
                <a:cubicBezTo>
                  <a:pt x="2646324" y="811308"/>
                  <a:pt x="2662395" y="809576"/>
                  <a:pt x="2678724" y="810235"/>
                </a:cubicBezTo>
                <a:cubicBezTo>
                  <a:pt x="2676331" y="810493"/>
                  <a:pt x="2674278" y="810715"/>
                  <a:pt x="2669493" y="811231"/>
                </a:cubicBezTo>
                <a:cubicBezTo>
                  <a:pt x="2625982" y="818344"/>
                  <a:pt x="2582437" y="825115"/>
                  <a:pt x="2539527" y="834584"/>
                </a:cubicBezTo>
                <a:cubicBezTo>
                  <a:pt x="2530517" y="837631"/>
                  <a:pt x="2556593" y="842080"/>
                  <a:pt x="2561038" y="841601"/>
                </a:cubicBezTo>
                <a:cubicBezTo>
                  <a:pt x="2577108" y="839869"/>
                  <a:pt x="2595795" y="839927"/>
                  <a:pt x="2611865" y="838194"/>
                </a:cubicBezTo>
                <a:cubicBezTo>
                  <a:pt x="2593659" y="842578"/>
                  <a:pt x="2577588" y="844312"/>
                  <a:pt x="2559467" y="846266"/>
                </a:cubicBezTo>
                <a:cubicBezTo>
                  <a:pt x="2554681" y="846782"/>
                  <a:pt x="2547582" y="845128"/>
                  <a:pt x="2545188" y="845386"/>
                </a:cubicBezTo>
                <a:cubicBezTo>
                  <a:pt x="2487522" y="849530"/>
                  <a:pt x="2425034" y="853851"/>
                  <a:pt x="2365195" y="860304"/>
                </a:cubicBezTo>
                <a:cubicBezTo>
                  <a:pt x="2411357" y="855325"/>
                  <a:pt x="2457516" y="850345"/>
                  <a:pt x="2503337" y="845405"/>
                </a:cubicBezTo>
                <a:cubicBezTo>
                  <a:pt x="2510174" y="844667"/>
                  <a:pt x="2488662" y="837650"/>
                  <a:pt x="2479431" y="838645"/>
                </a:cubicBezTo>
                <a:cubicBezTo>
                  <a:pt x="2417198" y="845358"/>
                  <a:pt x="2417198" y="845358"/>
                  <a:pt x="2417198" y="845358"/>
                </a:cubicBezTo>
                <a:cubicBezTo>
                  <a:pt x="2412496" y="843445"/>
                  <a:pt x="2403043" y="842390"/>
                  <a:pt x="2396204" y="843128"/>
                </a:cubicBezTo>
                <a:cubicBezTo>
                  <a:pt x="2377740" y="845118"/>
                  <a:pt x="2356882" y="847368"/>
                  <a:pt x="2338417" y="849361"/>
                </a:cubicBezTo>
                <a:cubicBezTo>
                  <a:pt x="2413553" y="833994"/>
                  <a:pt x="2492113" y="827941"/>
                  <a:pt x="2567763" y="817362"/>
                </a:cubicBezTo>
                <a:cubicBezTo>
                  <a:pt x="2574602" y="816625"/>
                  <a:pt x="2555485" y="809349"/>
                  <a:pt x="2546253" y="810345"/>
                </a:cubicBezTo>
                <a:cubicBezTo>
                  <a:pt x="2452394" y="825309"/>
                  <a:pt x="2355112" y="830960"/>
                  <a:pt x="2266779" y="852246"/>
                </a:cubicBezTo>
                <a:cubicBezTo>
                  <a:pt x="2259941" y="852983"/>
                  <a:pt x="2267038" y="854638"/>
                  <a:pt x="2274134" y="856293"/>
                </a:cubicBezTo>
                <a:cubicBezTo>
                  <a:pt x="2262508" y="857547"/>
                  <a:pt x="2251225" y="858765"/>
                  <a:pt x="2239820" y="862069"/>
                </a:cubicBezTo>
                <a:cubicBezTo>
                  <a:pt x="2235375" y="862548"/>
                  <a:pt x="2242472" y="864204"/>
                  <a:pt x="2249568" y="865859"/>
                </a:cubicBezTo>
                <a:cubicBezTo>
                  <a:pt x="2229052" y="868071"/>
                  <a:pt x="2208416" y="872372"/>
                  <a:pt x="2187817" y="877015"/>
                </a:cubicBezTo>
                <a:cubicBezTo>
                  <a:pt x="2178583" y="878010"/>
                  <a:pt x="2204624" y="882117"/>
                  <a:pt x="2209410" y="881602"/>
                </a:cubicBezTo>
                <a:cubicBezTo>
                  <a:pt x="2246341" y="877618"/>
                  <a:pt x="2283184" y="876065"/>
                  <a:pt x="2320114" y="872082"/>
                </a:cubicBezTo>
                <a:cubicBezTo>
                  <a:pt x="2357042" y="868100"/>
                  <a:pt x="2393629" y="864152"/>
                  <a:pt x="2433208" y="862305"/>
                </a:cubicBezTo>
                <a:cubicBezTo>
                  <a:pt x="2400725" y="865808"/>
                  <a:pt x="2368585" y="869275"/>
                  <a:pt x="2339094" y="874875"/>
                </a:cubicBezTo>
                <a:cubicBezTo>
                  <a:pt x="2330083" y="877923"/>
                  <a:pt x="2351372" y="882888"/>
                  <a:pt x="2356160" y="882372"/>
                </a:cubicBezTo>
                <a:cubicBezTo>
                  <a:pt x="2374846" y="882431"/>
                  <a:pt x="2390916" y="880699"/>
                  <a:pt x="2409039" y="878743"/>
                </a:cubicBezTo>
                <a:cubicBezTo>
                  <a:pt x="2347666" y="890203"/>
                  <a:pt x="2282781" y="894781"/>
                  <a:pt x="2224024" y="908035"/>
                </a:cubicBezTo>
                <a:cubicBezTo>
                  <a:pt x="2214790" y="909030"/>
                  <a:pt x="2238438" y="913396"/>
                  <a:pt x="2245276" y="912658"/>
                </a:cubicBezTo>
                <a:cubicBezTo>
                  <a:pt x="2270580" y="909929"/>
                  <a:pt x="2295884" y="907200"/>
                  <a:pt x="2323580" y="904213"/>
                </a:cubicBezTo>
                <a:cubicBezTo>
                  <a:pt x="2325973" y="903955"/>
                  <a:pt x="2328026" y="903734"/>
                  <a:pt x="2330418" y="903476"/>
                </a:cubicBezTo>
                <a:cubicBezTo>
                  <a:pt x="2342044" y="902222"/>
                  <a:pt x="2351275" y="901225"/>
                  <a:pt x="2362302" y="897616"/>
                </a:cubicBezTo>
                <a:cubicBezTo>
                  <a:pt x="2351275" y="901225"/>
                  <a:pt x="2351275" y="901225"/>
                  <a:pt x="2351275" y="901225"/>
                </a:cubicBezTo>
                <a:cubicBezTo>
                  <a:pt x="2344354" y="904393"/>
                  <a:pt x="2368083" y="906328"/>
                  <a:pt x="2372529" y="905849"/>
                </a:cubicBezTo>
                <a:cubicBezTo>
                  <a:pt x="2409715" y="904259"/>
                  <a:pt x="2444250" y="900534"/>
                  <a:pt x="2480838" y="896587"/>
                </a:cubicBezTo>
                <a:cubicBezTo>
                  <a:pt x="2414677" y="908563"/>
                  <a:pt x="2345828" y="918066"/>
                  <a:pt x="2279889" y="932094"/>
                </a:cubicBezTo>
                <a:cubicBezTo>
                  <a:pt x="2261544" y="931998"/>
                  <a:pt x="2243081" y="933989"/>
                  <a:pt x="2224616" y="935980"/>
                </a:cubicBezTo>
                <a:cubicBezTo>
                  <a:pt x="2249402" y="928466"/>
                  <a:pt x="2274706" y="925737"/>
                  <a:pt x="2299787" y="920956"/>
                </a:cubicBezTo>
                <a:cubicBezTo>
                  <a:pt x="2306626" y="920219"/>
                  <a:pt x="2287387" y="915033"/>
                  <a:pt x="2278154" y="916028"/>
                </a:cubicBezTo>
                <a:cubicBezTo>
                  <a:pt x="2234988" y="923104"/>
                  <a:pt x="2193789" y="932389"/>
                  <a:pt x="2152893" y="941295"/>
                </a:cubicBezTo>
                <a:cubicBezTo>
                  <a:pt x="2146315" y="944426"/>
                  <a:pt x="2160812" y="947356"/>
                  <a:pt x="2169702" y="946398"/>
                </a:cubicBezTo>
                <a:lnTo>
                  <a:pt x="2124153" y="957112"/>
                </a:lnTo>
                <a:lnTo>
                  <a:pt x="2125761" y="959442"/>
                </a:lnTo>
                <a:lnTo>
                  <a:pt x="2148799" y="960966"/>
                </a:lnTo>
                <a:cubicBezTo>
                  <a:pt x="2171434" y="962463"/>
                  <a:pt x="2171434" y="962463"/>
                  <a:pt x="2171434" y="962463"/>
                </a:cubicBezTo>
                <a:cubicBezTo>
                  <a:pt x="2166990" y="962944"/>
                  <a:pt x="2179612" y="970918"/>
                  <a:pt x="2179612" y="970918"/>
                </a:cubicBezTo>
                <a:cubicBezTo>
                  <a:pt x="2181920" y="973089"/>
                  <a:pt x="2186707" y="972573"/>
                  <a:pt x="2189018" y="974744"/>
                </a:cubicBezTo>
                <a:cubicBezTo>
                  <a:pt x="2158532" y="971117"/>
                  <a:pt x="2158532" y="971117"/>
                  <a:pt x="2158532" y="971117"/>
                </a:cubicBezTo>
                <a:cubicBezTo>
                  <a:pt x="2156138" y="971375"/>
                  <a:pt x="2161663" y="977695"/>
                  <a:pt x="2166329" y="979267"/>
                </a:cubicBezTo>
                <a:cubicBezTo>
                  <a:pt x="2145335" y="977036"/>
                  <a:pt x="2145335" y="977036"/>
                  <a:pt x="2145335" y="977036"/>
                </a:cubicBezTo>
                <a:cubicBezTo>
                  <a:pt x="2142682" y="974901"/>
                  <a:pt x="2137500" y="968545"/>
                  <a:pt x="2132713" y="969061"/>
                </a:cubicBezTo>
                <a:lnTo>
                  <a:pt x="2132009" y="968495"/>
                </a:lnTo>
                <a:lnTo>
                  <a:pt x="2143327" y="984894"/>
                </a:lnTo>
                <a:lnTo>
                  <a:pt x="2214541" y="974066"/>
                </a:lnTo>
                <a:cubicBezTo>
                  <a:pt x="2214541" y="974066"/>
                  <a:pt x="2216934" y="973810"/>
                  <a:pt x="2219329" y="973551"/>
                </a:cubicBezTo>
                <a:lnTo>
                  <a:pt x="2144849" y="987101"/>
                </a:lnTo>
                <a:lnTo>
                  <a:pt x="2147800" y="991374"/>
                </a:lnTo>
                <a:lnTo>
                  <a:pt x="2163137" y="991367"/>
                </a:lnTo>
                <a:cubicBezTo>
                  <a:pt x="2165531" y="991109"/>
                  <a:pt x="2162879" y="988974"/>
                  <a:pt x="2160265" y="987182"/>
                </a:cubicBezTo>
                <a:cubicBezTo>
                  <a:pt x="2186564" y="993683"/>
                  <a:pt x="2186564" y="993683"/>
                  <a:pt x="2186564" y="993683"/>
                </a:cubicBezTo>
                <a:cubicBezTo>
                  <a:pt x="2181860" y="991768"/>
                  <a:pt x="2177072" y="992286"/>
                  <a:pt x="2172628" y="992765"/>
                </a:cubicBezTo>
                <a:cubicBezTo>
                  <a:pt x="2167841" y="993281"/>
                  <a:pt x="2173107" y="997210"/>
                  <a:pt x="2175416" y="999380"/>
                </a:cubicBezTo>
                <a:lnTo>
                  <a:pt x="2151987" y="997443"/>
                </a:lnTo>
                <a:lnTo>
                  <a:pt x="2157897" y="1006007"/>
                </a:lnTo>
                <a:lnTo>
                  <a:pt x="2189911" y="1010809"/>
                </a:lnTo>
                <a:lnTo>
                  <a:pt x="2160262" y="1009433"/>
                </a:lnTo>
                <a:lnTo>
                  <a:pt x="2168061" y="1020731"/>
                </a:lnTo>
                <a:lnTo>
                  <a:pt x="2168738" y="1020848"/>
                </a:lnTo>
                <a:cubicBezTo>
                  <a:pt x="2182933" y="1024158"/>
                  <a:pt x="2199261" y="1024817"/>
                  <a:pt x="2215811" y="1027528"/>
                </a:cubicBezTo>
                <a:lnTo>
                  <a:pt x="2216069" y="1029921"/>
                </a:lnTo>
                <a:cubicBezTo>
                  <a:pt x="2202133" y="1029002"/>
                  <a:pt x="2185584" y="1026292"/>
                  <a:pt x="2171306" y="1025412"/>
                </a:cubicBezTo>
                <a:lnTo>
                  <a:pt x="2171292" y="1025414"/>
                </a:lnTo>
                <a:lnTo>
                  <a:pt x="2178148" y="1035346"/>
                </a:lnTo>
                <a:lnTo>
                  <a:pt x="2208336" y="1037195"/>
                </a:lnTo>
                <a:cubicBezTo>
                  <a:pt x="2220997" y="1038726"/>
                  <a:pt x="2233504" y="1040834"/>
                  <a:pt x="2245498" y="1042998"/>
                </a:cubicBezTo>
                <a:cubicBezTo>
                  <a:pt x="2247891" y="1042741"/>
                  <a:pt x="2245241" y="1040606"/>
                  <a:pt x="2244982" y="1038214"/>
                </a:cubicBezTo>
                <a:cubicBezTo>
                  <a:pt x="2247375" y="1037955"/>
                  <a:pt x="2247375" y="1037955"/>
                  <a:pt x="2247375" y="1037955"/>
                </a:cubicBezTo>
                <a:cubicBezTo>
                  <a:pt x="2247633" y="1040347"/>
                  <a:pt x="2252817" y="1046705"/>
                  <a:pt x="2257260" y="1046225"/>
                </a:cubicBezTo>
                <a:cubicBezTo>
                  <a:pt x="2283338" y="1050675"/>
                  <a:pt x="2283338" y="1050675"/>
                  <a:pt x="2283338" y="1050675"/>
                </a:cubicBezTo>
                <a:cubicBezTo>
                  <a:pt x="2299630" y="1050992"/>
                  <a:pt x="2318869" y="1056178"/>
                  <a:pt x="2337812" y="1058631"/>
                </a:cubicBezTo>
                <a:cubicBezTo>
                  <a:pt x="2323656" y="1055662"/>
                  <a:pt x="2309379" y="1054782"/>
                  <a:pt x="2295443" y="1053865"/>
                </a:cubicBezTo>
                <a:cubicBezTo>
                  <a:pt x="2293049" y="1054123"/>
                  <a:pt x="2293307" y="1056515"/>
                  <a:pt x="2295702" y="1056257"/>
                </a:cubicBezTo>
                <a:cubicBezTo>
                  <a:pt x="2265217" y="1052630"/>
                  <a:pt x="2234352" y="1048696"/>
                  <a:pt x="2201473" y="1045325"/>
                </a:cubicBezTo>
                <a:lnTo>
                  <a:pt x="2184520" y="1044579"/>
                </a:lnTo>
                <a:lnTo>
                  <a:pt x="2200920" y="1068345"/>
                </a:lnTo>
                <a:lnTo>
                  <a:pt x="2187075" y="1070058"/>
                </a:lnTo>
                <a:lnTo>
                  <a:pt x="2134743" y="1082954"/>
                </a:lnTo>
                <a:lnTo>
                  <a:pt x="2138041" y="1082597"/>
                </a:lnTo>
                <a:cubicBezTo>
                  <a:pt x="2154332" y="1082917"/>
                  <a:pt x="2154332" y="1082917"/>
                  <a:pt x="2154332" y="1082917"/>
                </a:cubicBezTo>
                <a:cubicBezTo>
                  <a:pt x="2161172" y="1082178"/>
                  <a:pt x="2168267" y="1083833"/>
                  <a:pt x="2175707" y="1085451"/>
                </a:cubicBezTo>
                <a:cubicBezTo>
                  <a:pt x="2178016" y="1087623"/>
                  <a:pt x="2183282" y="1091550"/>
                  <a:pt x="2185333" y="1091329"/>
                </a:cubicBezTo>
                <a:cubicBezTo>
                  <a:pt x="2199611" y="1092210"/>
                  <a:pt x="2199611" y="1092210"/>
                  <a:pt x="2199611" y="1092210"/>
                </a:cubicBezTo>
                <a:cubicBezTo>
                  <a:pt x="2209322" y="1095658"/>
                  <a:pt x="2220864" y="1096833"/>
                  <a:pt x="2230355" y="1098231"/>
                </a:cubicBezTo>
                <a:cubicBezTo>
                  <a:pt x="2242459" y="1101419"/>
                  <a:pt x="2242459" y="1101419"/>
                  <a:pt x="2242459" y="1101419"/>
                </a:cubicBezTo>
                <a:cubicBezTo>
                  <a:pt x="2244853" y="1101162"/>
                  <a:pt x="2244853" y="1101162"/>
                  <a:pt x="2244595" y="1098769"/>
                </a:cubicBezTo>
                <a:cubicBezTo>
                  <a:pt x="2254085" y="1100166"/>
                  <a:pt x="2263234" y="1101600"/>
                  <a:pt x="2275118" y="1102739"/>
                </a:cubicBezTo>
                <a:cubicBezTo>
                  <a:pt x="2274859" y="1100345"/>
                  <a:pt x="2274602" y="1097953"/>
                  <a:pt x="2271950" y="1095818"/>
                </a:cubicBezTo>
                <a:cubicBezTo>
                  <a:pt x="2307260" y="1099272"/>
                  <a:pt x="2307260" y="1099272"/>
                  <a:pt x="2307260" y="1099272"/>
                </a:cubicBezTo>
                <a:cubicBezTo>
                  <a:pt x="2316713" y="1100328"/>
                  <a:pt x="2326202" y="1101725"/>
                  <a:pt x="2335692" y="1103121"/>
                </a:cubicBezTo>
                <a:cubicBezTo>
                  <a:pt x="2333298" y="1103379"/>
                  <a:pt x="2330906" y="1103637"/>
                  <a:pt x="2328854" y="1103859"/>
                </a:cubicBezTo>
                <a:cubicBezTo>
                  <a:pt x="2326460" y="1104117"/>
                  <a:pt x="2334037" y="1110216"/>
                  <a:pt x="2336689" y="1112349"/>
                </a:cubicBezTo>
                <a:cubicBezTo>
                  <a:pt x="2349053" y="1117933"/>
                  <a:pt x="2363466" y="1123294"/>
                  <a:pt x="2377879" y="1128655"/>
                </a:cubicBezTo>
                <a:cubicBezTo>
                  <a:pt x="2350268" y="1129212"/>
                  <a:pt x="2293401" y="1121514"/>
                  <a:pt x="2297785" y="1139715"/>
                </a:cubicBezTo>
                <a:lnTo>
                  <a:pt x="2298042" y="1142107"/>
                </a:lnTo>
                <a:lnTo>
                  <a:pt x="2244361" y="1131285"/>
                </a:lnTo>
                <a:lnTo>
                  <a:pt x="2248954" y="1137942"/>
                </a:lnTo>
                <a:lnTo>
                  <a:pt x="2274875" y="1142185"/>
                </a:lnTo>
                <a:lnTo>
                  <a:pt x="2251249" y="1141267"/>
                </a:lnTo>
                <a:lnTo>
                  <a:pt x="2267551" y="1164889"/>
                </a:lnTo>
                <a:lnTo>
                  <a:pt x="2238270" y="1169914"/>
                </a:lnTo>
                <a:cubicBezTo>
                  <a:pt x="2241162" y="1174105"/>
                  <a:pt x="2243717" y="1178623"/>
                  <a:pt x="2247506" y="1182617"/>
                </a:cubicBezTo>
                <a:lnTo>
                  <a:pt x="2255518" y="1187224"/>
                </a:lnTo>
                <a:lnTo>
                  <a:pt x="2261131" y="1187929"/>
                </a:lnTo>
                <a:cubicBezTo>
                  <a:pt x="2261260" y="1189126"/>
                  <a:pt x="2262490" y="1190117"/>
                  <a:pt x="2264021" y="1191076"/>
                </a:cubicBezTo>
                <a:lnTo>
                  <a:pt x="2265852" y="1192230"/>
                </a:lnTo>
                <a:lnTo>
                  <a:pt x="2282891" y="1192691"/>
                </a:lnTo>
                <a:lnTo>
                  <a:pt x="2286819" y="1192807"/>
                </a:lnTo>
                <a:lnTo>
                  <a:pt x="2297547" y="1208351"/>
                </a:lnTo>
                <a:lnTo>
                  <a:pt x="2289207" y="1210545"/>
                </a:lnTo>
                <a:lnTo>
                  <a:pt x="2292383" y="1213908"/>
                </a:lnTo>
                <a:cubicBezTo>
                  <a:pt x="2294907" y="1215667"/>
                  <a:pt x="2298064" y="1217661"/>
                  <a:pt x="2299389" y="1218729"/>
                </a:cubicBezTo>
                <a:cubicBezTo>
                  <a:pt x="2327481" y="1222615"/>
                  <a:pt x="2353780" y="1229115"/>
                  <a:pt x="2382213" y="1232964"/>
                </a:cubicBezTo>
                <a:cubicBezTo>
                  <a:pt x="2379821" y="1233222"/>
                  <a:pt x="2379821" y="1233222"/>
                  <a:pt x="2379821" y="1233222"/>
                </a:cubicBezTo>
                <a:cubicBezTo>
                  <a:pt x="2361440" y="1232783"/>
                  <a:pt x="2340322" y="1232641"/>
                  <a:pt x="2321637" y="1232580"/>
                </a:cubicBezTo>
                <a:cubicBezTo>
                  <a:pt x="2302915" y="1232180"/>
                  <a:pt x="2284535" y="1231741"/>
                  <a:pt x="2266071" y="1233733"/>
                </a:cubicBezTo>
                <a:cubicBezTo>
                  <a:pt x="2261284" y="1234250"/>
                  <a:pt x="2271512" y="1242483"/>
                  <a:pt x="2273905" y="1242224"/>
                </a:cubicBezTo>
                <a:cubicBezTo>
                  <a:pt x="2276556" y="1244359"/>
                  <a:pt x="2278607" y="1244138"/>
                  <a:pt x="2281260" y="1246272"/>
                </a:cubicBezTo>
                <a:cubicBezTo>
                  <a:pt x="2279086" y="1248580"/>
                  <a:pt x="2274642" y="1249061"/>
                  <a:pt x="2272249" y="1249319"/>
                </a:cubicBezTo>
                <a:cubicBezTo>
                  <a:pt x="2272249" y="1249319"/>
                  <a:pt x="2270196" y="1249540"/>
                  <a:pt x="2268061" y="1252191"/>
                </a:cubicBezTo>
                <a:cubicBezTo>
                  <a:pt x="2235440" y="1251215"/>
                  <a:pt x="2202182" y="1247540"/>
                  <a:pt x="2167989" y="1251228"/>
                </a:cubicBezTo>
                <a:cubicBezTo>
                  <a:pt x="2163201" y="1251744"/>
                  <a:pt x="2175602" y="1257668"/>
                  <a:pt x="2177874" y="1259497"/>
                </a:cubicBezTo>
                <a:cubicBezTo>
                  <a:pt x="2190017" y="1263029"/>
                  <a:pt x="2204173" y="1265997"/>
                  <a:pt x="2216315" y="1269530"/>
                </a:cubicBezTo>
                <a:lnTo>
                  <a:pt x="2216573" y="1271922"/>
                </a:lnTo>
                <a:cubicBezTo>
                  <a:pt x="2197851" y="1271521"/>
                  <a:pt x="2177077" y="1271341"/>
                  <a:pt x="2158354" y="1270939"/>
                </a:cubicBezTo>
                <a:cubicBezTo>
                  <a:pt x="2153566" y="1271455"/>
                  <a:pt x="2166189" y="1279431"/>
                  <a:pt x="2168840" y="1281566"/>
                </a:cubicBezTo>
                <a:cubicBezTo>
                  <a:pt x="2178331" y="1282964"/>
                  <a:pt x="2187783" y="1284018"/>
                  <a:pt x="2197532" y="1287808"/>
                </a:cubicBezTo>
                <a:cubicBezTo>
                  <a:pt x="2192746" y="1288324"/>
                  <a:pt x="2188558" y="1291196"/>
                  <a:pt x="2183991" y="1293763"/>
                </a:cubicBezTo>
                <a:cubicBezTo>
                  <a:pt x="2177153" y="1294501"/>
                  <a:pt x="2177153" y="1294501"/>
                  <a:pt x="2177153" y="1294501"/>
                </a:cubicBezTo>
                <a:cubicBezTo>
                  <a:pt x="2176673" y="1290057"/>
                  <a:pt x="2171712" y="1285751"/>
                  <a:pt x="2166926" y="1286267"/>
                </a:cubicBezTo>
                <a:cubicBezTo>
                  <a:pt x="2145847" y="1286467"/>
                  <a:pt x="2127466" y="1286027"/>
                  <a:pt x="2109002" y="1288020"/>
                </a:cubicBezTo>
                <a:cubicBezTo>
                  <a:pt x="2104215" y="1288536"/>
                  <a:pt x="2112132" y="1294598"/>
                  <a:pt x="2114443" y="1296770"/>
                </a:cubicBezTo>
                <a:cubicBezTo>
                  <a:pt x="2109998" y="1297250"/>
                  <a:pt x="2109998" y="1297250"/>
                  <a:pt x="2109998" y="1297250"/>
                </a:cubicBezTo>
                <a:cubicBezTo>
                  <a:pt x="2109998" y="1297250"/>
                  <a:pt x="2107603" y="1297507"/>
                  <a:pt x="2110254" y="1299641"/>
                </a:cubicBezTo>
                <a:cubicBezTo>
                  <a:pt x="2091275" y="1296848"/>
                  <a:pt x="2074724" y="1294137"/>
                  <a:pt x="2056260" y="1296129"/>
                </a:cubicBezTo>
                <a:cubicBezTo>
                  <a:pt x="2053609" y="1293995"/>
                  <a:pt x="2061527" y="1300057"/>
                  <a:pt x="2061785" y="1302448"/>
                </a:cubicBezTo>
                <a:cubicBezTo>
                  <a:pt x="2071754" y="1308289"/>
                  <a:pt x="2083554" y="1311858"/>
                  <a:pt x="2095659" y="1315047"/>
                </a:cubicBezTo>
                <a:cubicBezTo>
                  <a:pt x="2076715" y="1312597"/>
                  <a:pt x="2057736" y="1309802"/>
                  <a:pt x="2039012" y="1309400"/>
                </a:cubicBezTo>
                <a:cubicBezTo>
                  <a:pt x="2034568" y="1309880"/>
                  <a:pt x="2044795" y="1318114"/>
                  <a:pt x="2046847" y="1317892"/>
                </a:cubicBezTo>
                <a:cubicBezTo>
                  <a:pt x="2080583" y="1326009"/>
                  <a:pt x="2113720" y="1331772"/>
                  <a:pt x="2146599" y="1335142"/>
                </a:cubicBezTo>
                <a:cubicBezTo>
                  <a:pt x="2146858" y="1337535"/>
                  <a:pt x="2149732" y="1341720"/>
                  <a:pt x="2154433" y="1343633"/>
                </a:cubicBezTo>
                <a:cubicBezTo>
                  <a:pt x="2128394" y="1339527"/>
                  <a:pt x="2102574" y="1337471"/>
                  <a:pt x="2077787" y="1344985"/>
                </a:cubicBezTo>
                <a:cubicBezTo>
                  <a:pt x="2075736" y="1345206"/>
                  <a:pt x="2085363" y="1351083"/>
                  <a:pt x="2088015" y="1353218"/>
                </a:cubicBezTo>
                <a:cubicBezTo>
                  <a:pt x="2095075" y="1354531"/>
                  <a:pt x="2095075" y="1354531"/>
                  <a:pt x="2095075" y="1354531"/>
                </a:cubicBezTo>
                <a:cubicBezTo>
                  <a:pt x="2090629" y="1355010"/>
                  <a:pt x="2088236" y="1355270"/>
                  <a:pt x="2085843" y="1355526"/>
                </a:cubicBezTo>
                <a:cubicBezTo>
                  <a:pt x="2083791" y="1355747"/>
                  <a:pt x="2094019" y="1363982"/>
                  <a:pt x="2096071" y="1363760"/>
                </a:cubicBezTo>
                <a:cubicBezTo>
                  <a:pt x="2105560" y="1365157"/>
                  <a:pt x="2115049" y="1366554"/>
                  <a:pt x="2124506" y="1367609"/>
                </a:cubicBezTo>
                <a:cubicBezTo>
                  <a:pt x="2126897" y="1367350"/>
                  <a:pt x="2121631" y="1363424"/>
                  <a:pt x="2119321" y="1361253"/>
                </a:cubicBezTo>
                <a:cubicBezTo>
                  <a:pt x="2139839" y="1359040"/>
                  <a:pt x="2163264" y="1361354"/>
                  <a:pt x="2184342" y="1361156"/>
                </a:cubicBezTo>
                <a:cubicBezTo>
                  <a:pt x="2186994" y="1363290"/>
                  <a:pt x="2194570" y="1369389"/>
                  <a:pt x="2196963" y="1369131"/>
                </a:cubicBezTo>
                <a:cubicBezTo>
                  <a:pt x="2250874" y="1375074"/>
                  <a:pt x="2250874" y="1375074"/>
                  <a:pt x="2250874" y="1375074"/>
                </a:cubicBezTo>
                <a:cubicBezTo>
                  <a:pt x="2230358" y="1377286"/>
                  <a:pt x="2207449" y="1379756"/>
                  <a:pt x="2186849" y="1384399"/>
                </a:cubicBezTo>
                <a:cubicBezTo>
                  <a:pt x="2184456" y="1384658"/>
                  <a:pt x="2194684" y="1392891"/>
                  <a:pt x="2194684" y="1392891"/>
                </a:cubicBezTo>
                <a:cubicBezTo>
                  <a:pt x="2204137" y="1393945"/>
                  <a:pt x="2211233" y="1395600"/>
                  <a:pt x="2218330" y="1397257"/>
                </a:cubicBezTo>
                <a:cubicBezTo>
                  <a:pt x="2213886" y="1397736"/>
                  <a:pt x="2213886" y="1397736"/>
                  <a:pt x="2213886" y="1397736"/>
                </a:cubicBezTo>
                <a:cubicBezTo>
                  <a:pt x="2193027" y="1399985"/>
                  <a:pt x="2172254" y="1399805"/>
                  <a:pt x="2154045" y="1404189"/>
                </a:cubicBezTo>
                <a:cubicBezTo>
                  <a:pt x="2149602" y="1404669"/>
                  <a:pt x="2159229" y="1410546"/>
                  <a:pt x="2161881" y="1412680"/>
                </a:cubicBezTo>
                <a:cubicBezTo>
                  <a:pt x="2168941" y="1413994"/>
                  <a:pt x="2176379" y="1415612"/>
                  <a:pt x="2185869" y="1417009"/>
                </a:cubicBezTo>
                <a:cubicBezTo>
                  <a:pt x="2176638" y="1418005"/>
                  <a:pt x="2169197" y="1416387"/>
                  <a:pt x="2159966" y="1417383"/>
                </a:cubicBezTo>
                <a:cubicBezTo>
                  <a:pt x="2157658" y="1415211"/>
                  <a:pt x="2155042" y="1413419"/>
                  <a:pt x="2155042" y="1413419"/>
                </a:cubicBezTo>
                <a:cubicBezTo>
                  <a:pt x="2126351" y="1407177"/>
                  <a:pt x="2100532" y="1405121"/>
                  <a:pt x="2072440" y="1401234"/>
                </a:cubicBezTo>
                <a:cubicBezTo>
                  <a:pt x="2093472" y="1403807"/>
                  <a:pt x="2114808" y="1406001"/>
                  <a:pt x="2135583" y="1406181"/>
                </a:cubicBezTo>
                <a:cubicBezTo>
                  <a:pt x="2138234" y="1408316"/>
                  <a:pt x="2130400" y="1399824"/>
                  <a:pt x="2125355" y="1397948"/>
                </a:cubicBezTo>
                <a:cubicBezTo>
                  <a:pt x="2097484" y="1396111"/>
                  <a:pt x="2097484" y="1396111"/>
                  <a:pt x="2097484" y="1396111"/>
                </a:cubicBezTo>
                <a:cubicBezTo>
                  <a:pt x="2094611" y="1391927"/>
                  <a:pt x="2091961" y="1389793"/>
                  <a:pt x="2087293" y="1388220"/>
                </a:cubicBezTo>
                <a:cubicBezTo>
                  <a:pt x="2080455" y="1388959"/>
                  <a:pt x="2070965" y="1387561"/>
                  <a:pt x="2061476" y="1386164"/>
                </a:cubicBezTo>
                <a:cubicBezTo>
                  <a:pt x="2096268" y="1384832"/>
                  <a:pt x="2131198" y="1387981"/>
                  <a:pt x="2168606" y="1388441"/>
                </a:cubicBezTo>
                <a:cubicBezTo>
                  <a:pt x="2171000" y="1388183"/>
                  <a:pt x="2163203" y="1380033"/>
                  <a:pt x="2158415" y="1380550"/>
                </a:cubicBezTo>
                <a:cubicBezTo>
                  <a:pt x="2113873" y="1378093"/>
                  <a:pt x="2071505" y="1373325"/>
                  <a:pt x="2027996" y="1380439"/>
                </a:cubicBezTo>
                <a:cubicBezTo>
                  <a:pt x="2025944" y="1380660"/>
                  <a:pt x="2028254" y="1382832"/>
                  <a:pt x="2030906" y="1384967"/>
                </a:cubicBezTo>
                <a:cubicBezTo>
                  <a:pt x="2026460" y="1385445"/>
                  <a:pt x="2021415" y="1383569"/>
                  <a:pt x="2016970" y="1384049"/>
                </a:cubicBezTo>
                <a:cubicBezTo>
                  <a:pt x="2014576" y="1384306"/>
                  <a:pt x="2017227" y="1386441"/>
                  <a:pt x="2020101" y="1390628"/>
                </a:cubicBezTo>
                <a:cubicBezTo>
                  <a:pt x="2010611" y="1389230"/>
                  <a:pt x="2001378" y="1390226"/>
                  <a:pt x="1991924" y="1389170"/>
                </a:cubicBezTo>
                <a:cubicBezTo>
                  <a:pt x="1987138" y="1389687"/>
                  <a:pt x="1997366" y="1397920"/>
                  <a:pt x="1999758" y="1397662"/>
                </a:cubicBezTo>
                <a:cubicBezTo>
                  <a:pt x="2033118" y="1405475"/>
                  <a:pt x="2068390" y="1408586"/>
                  <a:pt x="2101307" y="1412298"/>
                </a:cubicBezTo>
                <a:cubicBezTo>
                  <a:pt x="2087370" y="1411381"/>
                  <a:pt x="2073693" y="1412856"/>
                  <a:pt x="2057023" y="1412233"/>
                </a:cubicBezTo>
                <a:cubicBezTo>
                  <a:pt x="2054970" y="1412455"/>
                  <a:pt x="2062803" y="1420947"/>
                  <a:pt x="2065197" y="1420688"/>
                </a:cubicBezTo>
                <a:cubicBezTo>
                  <a:pt x="2072515" y="1424395"/>
                  <a:pt x="2082006" y="1425790"/>
                  <a:pt x="2089102" y="1427446"/>
                </a:cubicBezTo>
                <a:cubicBezTo>
                  <a:pt x="2061148" y="1428040"/>
                  <a:pt x="2032714" y="1424192"/>
                  <a:pt x="2002967" y="1427400"/>
                </a:cubicBezTo>
                <a:cubicBezTo>
                  <a:pt x="1998521" y="1427880"/>
                  <a:pt x="2010800" y="1435890"/>
                  <a:pt x="2013194" y="1435633"/>
                </a:cubicBezTo>
                <a:cubicBezTo>
                  <a:pt x="2025077" y="1436772"/>
                  <a:pt x="2036582" y="1437606"/>
                  <a:pt x="2048467" y="1438744"/>
                </a:cubicBezTo>
                <a:cubicBezTo>
                  <a:pt x="2048467" y="1438744"/>
                  <a:pt x="2050860" y="1438486"/>
                  <a:pt x="2052912" y="1438265"/>
                </a:cubicBezTo>
                <a:cubicBezTo>
                  <a:pt x="2057957" y="1440142"/>
                  <a:pt x="2062402" y="1439663"/>
                  <a:pt x="2067189" y="1439146"/>
                </a:cubicBezTo>
                <a:cubicBezTo>
                  <a:pt x="2060007" y="1439921"/>
                  <a:pt x="2060007" y="1439921"/>
                  <a:pt x="2060007" y="1439921"/>
                </a:cubicBezTo>
                <a:cubicBezTo>
                  <a:pt x="2058178" y="1442193"/>
                  <a:pt x="2068184" y="1448375"/>
                  <a:pt x="2070236" y="1448153"/>
                </a:cubicBezTo>
                <a:cubicBezTo>
                  <a:pt x="2087385" y="1453221"/>
                  <a:pt x="2103715" y="1453880"/>
                  <a:pt x="2120006" y="1454197"/>
                </a:cubicBezTo>
                <a:cubicBezTo>
                  <a:pt x="2087644" y="1455613"/>
                  <a:pt x="2057296" y="1456466"/>
                  <a:pt x="2025155" y="1459932"/>
                </a:cubicBezTo>
                <a:cubicBezTo>
                  <a:pt x="2017801" y="1455885"/>
                  <a:pt x="2010740" y="1454571"/>
                  <a:pt x="2001249" y="1453174"/>
                </a:cubicBezTo>
                <a:cubicBezTo>
                  <a:pt x="2012532" y="1451957"/>
                  <a:pt x="2024418" y="1453096"/>
                  <a:pt x="2035701" y="1451879"/>
                </a:cubicBezTo>
                <a:cubicBezTo>
                  <a:pt x="2040488" y="1451362"/>
                  <a:pt x="2032654" y="1442871"/>
                  <a:pt x="2027866" y="1443387"/>
                </a:cubicBezTo>
                <a:cubicBezTo>
                  <a:pt x="2007092" y="1443208"/>
                  <a:pt x="1988629" y="1445199"/>
                  <a:pt x="1968029" y="1449842"/>
                </a:cubicBezTo>
                <a:cubicBezTo>
                  <a:pt x="1965977" y="1450063"/>
                  <a:pt x="1970902" y="1454027"/>
                  <a:pt x="1975946" y="1455904"/>
                </a:cubicBezTo>
                <a:cubicBezTo>
                  <a:pt x="1964321" y="1457158"/>
                  <a:pt x="1955090" y="1458153"/>
                  <a:pt x="1943462" y="1459408"/>
                </a:cubicBezTo>
                <a:cubicBezTo>
                  <a:pt x="1939277" y="1462279"/>
                  <a:pt x="1951640" y="1467862"/>
                  <a:pt x="1953690" y="1467640"/>
                </a:cubicBezTo>
                <a:cubicBezTo>
                  <a:pt x="1958736" y="1469517"/>
                  <a:pt x="1958736" y="1469517"/>
                  <a:pt x="1958736" y="1469517"/>
                </a:cubicBezTo>
                <a:cubicBezTo>
                  <a:pt x="1926077" y="1468197"/>
                  <a:pt x="1893115" y="1467258"/>
                  <a:pt x="1863367" y="1470466"/>
                </a:cubicBezTo>
                <a:cubicBezTo>
                  <a:pt x="1858579" y="1470982"/>
                  <a:pt x="1868807" y="1479216"/>
                  <a:pt x="1871201" y="1478958"/>
                </a:cubicBezTo>
                <a:lnTo>
                  <a:pt x="1864363" y="1479696"/>
                </a:lnTo>
                <a:cubicBezTo>
                  <a:pt x="1861969" y="1479954"/>
                  <a:pt x="1864841" y="1484139"/>
                  <a:pt x="1869545" y="1486052"/>
                </a:cubicBezTo>
                <a:cubicBezTo>
                  <a:pt x="1860313" y="1487047"/>
                  <a:pt x="1851423" y="1488007"/>
                  <a:pt x="1839798" y="1489261"/>
                </a:cubicBezTo>
                <a:cubicBezTo>
                  <a:pt x="1837403" y="1489518"/>
                  <a:pt x="1842412" y="1491054"/>
                  <a:pt x="1844979" y="1495619"/>
                </a:cubicBezTo>
                <a:cubicBezTo>
                  <a:pt x="1840277" y="1493704"/>
                  <a:pt x="1835489" y="1494221"/>
                  <a:pt x="1831044" y="1494700"/>
                </a:cubicBezTo>
                <a:cubicBezTo>
                  <a:pt x="1826598" y="1495180"/>
                  <a:pt x="1836484" y="1503450"/>
                  <a:pt x="1838878" y="1503193"/>
                </a:cubicBezTo>
                <a:cubicBezTo>
                  <a:pt x="1843923" y="1505068"/>
                  <a:pt x="1850761" y="1504331"/>
                  <a:pt x="1857860" y="1505986"/>
                </a:cubicBezTo>
                <a:lnTo>
                  <a:pt x="1807044" y="1507345"/>
                </a:lnTo>
                <a:lnTo>
                  <a:pt x="1763612" y="1538102"/>
                </a:lnTo>
                <a:cubicBezTo>
                  <a:pt x="1747086" y="1549641"/>
                  <a:pt x="1729270" y="1562171"/>
                  <a:pt x="1711207" y="1575670"/>
                </a:cubicBezTo>
                <a:cubicBezTo>
                  <a:pt x="1656623" y="1615590"/>
                  <a:pt x="1613876" y="1651468"/>
                  <a:pt x="1573923" y="1685416"/>
                </a:cubicBezTo>
                <a:cubicBezTo>
                  <a:pt x="1532743" y="1717586"/>
                  <a:pt x="1495840" y="1749431"/>
                  <a:pt x="1457815" y="1786174"/>
                </a:cubicBezTo>
                <a:cubicBezTo>
                  <a:pt x="1421962" y="1819543"/>
                  <a:pt x="1390934" y="1838707"/>
                  <a:pt x="1360462" y="1876613"/>
                </a:cubicBezTo>
                <a:cubicBezTo>
                  <a:pt x="1342902" y="1897357"/>
                  <a:pt x="1301991" y="1957091"/>
                  <a:pt x="1279055" y="2021671"/>
                </a:cubicBezTo>
                <a:cubicBezTo>
                  <a:pt x="1223224" y="2176077"/>
                  <a:pt x="1203623" y="2357981"/>
                  <a:pt x="1218748" y="2553793"/>
                </a:cubicBezTo>
                <a:cubicBezTo>
                  <a:pt x="1226602" y="2653748"/>
                  <a:pt x="1247122" y="2753584"/>
                  <a:pt x="1277595" y="2843929"/>
                </a:cubicBezTo>
                <a:cubicBezTo>
                  <a:pt x="1308673" y="2934605"/>
                  <a:pt x="1349483" y="3018191"/>
                  <a:pt x="1391699" y="3088054"/>
                </a:cubicBezTo>
                <a:cubicBezTo>
                  <a:pt x="1424721" y="3145140"/>
                  <a:pt x="1468320" y="3178425"/>
                  <a:pt x="1507932" y="3214086"/>
                </a:cubicBezTo>
                <a:cubicBezTo>
                  <a:pt x="1544487" y="3245857"/>
                  <a:pt x="1582171" y="3278724"/>
                  <a:pt x="1637297" y="3331427"/>
                </a:cubicBezTo>
                <a:cubicBezTo>
                  <a:pt x="1668077" y="3360810"/>
                  <a:pt x="1686903" y="3381567"/>
                  <a:pt x="1705047" y="3402422"/>
                </a:cubicBezTo>
                <a:cubicBezTo>
                  <a:pt x="1722997" y="3421909"/>
                  <a:pt x="1741787" y="3440440"/>
                  <a:pt x="1767254" y="3458864"/>
                </a:cubicBezTo>
                <a:cubicBezTo>
                  <a:pt x="1805157" y="3489329"/>
                  <a:pt x="1862625" y="3517168"/>
                  <a:pt x="1916385" y="3543440"/>
                </a:cubicBezTo>
                <a:cubicBezTo>
                  <a:pt x="2106952" y="3633169"/>
                  <a:pt x="2318471" y="3667937"/>
                  <a:pt x="2519663" y="3651334"/>
                </a:cubicBezTo>
                <a:cubicBezTo>
                  <a:pt x="2721502" y="3632409"/>
                  <a:pt x="2911176" y="3564880"/>
                  <a:pt x="3072896" y="3457393"/>
                </a:cubicBezTo>
                <a:cubicBezTo>
                  <a:pt x="2971819" y="3518525"/>
                  <a:pt x="2858526" y="3565217"/>
                  <a:pt x="2737412" y="3594054"/>
                </a:cubicBezTo>
                <a:cubicBezTo>
                  <a:pt x="2617566" y="3622015"/>
                  <a:pt x="2492224" y="3632770"/>
                  <a:pt x="2373043" y="3622023"/>
                </a:cubicBezTo>
                <a:cubicBezTo>
                  <a:pt x="2319368" y="3617069"/>
                  <a:pt x="2273832" y="3612495"/>
                  <a:pt x="2221241" y="3600417"/>
                </a:cubicBezTo>
                <a:cubicBezTo>
                  <a:pt x="2168431" y="3590739"/>
                  <a:pt x="2106436" y="3574275"/>
                  <a:pt x="2026449" y="3540978"/>
                </a:cubicBezTo>
                <a:cubicBezTo>
                  <a:pt x="2009923" y="3535507"/>
                  <a:pt x="1933390" y="3503954"/>
                  <a:pt x="1863958" y="3461498"/>
                </a:cubicBezTo>
                <a:cubicBezTo>
                  <a:pt x="1795657" y="3420135"/>
                  <a:pt x="1738535" y="3371059"/>
                  <a:pt x="1739873" y="3363761"/>
                </a:cubicBezTo>
                <a:cubicBezTo>
                  <a:pt x="1740956" y="3356637"/>
                  <a:pt x="1735358" y="3354501"/>
                  <a:pt x="1777578" y="3381987"/>
                </a:cubicBezTo>
                <a:cubicBezTo>
                  <a:pt x="1832402" y="3415777"/>
                  <a:pt x="1899029" y="3454169"/>
                  <a:pt x="1970192" y="3487179"/>
                </a:cubicBezTo>
                <a:cubicBezTo>
                  <a:pt x="2040086" y="3521067"/>
                  <a:pt x="2113640" y="3548303"/>
                  <a:pt x="2179304" y="3564110"/>
                </a:cubicBezTo>
                <a:cubicBezTo>
                  <a:pt x="2293716" y="3592399"/>
                  <a:pt x="2409443" y="3601403"/>
                  <a:pt x="2521426" y="3595743"/>
                </a:cubicBezTo>
                <a:cubicBezTo>
                  <a:pt x="2632356" y="3588558"/>
                  <a:pt x="2741241" y="3565910"/>
                  <a:pt x="2844331" y="3528889"/>
                </a:cubicBezTo>
                <a:cubicBezTo>
                  <a:pt x="2945720" y="3492664"/>
                  <a:pt x="3043110" y="3441949"/>
                  <a:pt x="3131988" y="3378360"/>
                </a:cubicBezTo>
                <a:lnTo>
                  <a:pt x="3231136" y="3297574"/>
                </a:lnTo>
                <a:lnTo>
                  <a:pt x="3259664" y="3252163"/>
                </a:lnTo>
                <a:cubicBezTo>
                  <a:pt x="3263073" y="3245404"/>
                  <a:pt x="3277717" y="3225144"/>
                  <a:pt x="3265148" y="3248704"/>
                </a:cubicBezTo>
                <a:cubicBezTo>
                  <a:pt x="3258141" y="3258818"/>
                  <a:pt x="3250905" y="3270520"/>
                  <a:pt x="3245485" y="3280807"/>
                </a:cubicBezTo>
                <a:lnTo>
                  <a:pt x="3240371" y="3290049"/>
                </a:lnTo>
                <a:lnTo>
                  <a:pt x="3251766" y="3280765"/>
                </a:lnTo>
                <a:lnTo>
                  <a:pt x="3285403" y="3221565"/>
                </a:lnTo>
                <a:cubicBezTo>
                  <a:pt x="3303354" y="3192712"/>
                  <a:pt x="3323119" y="3162443"/>
                  <a:pt x="3342871" y="3131914"/>
                </a:cubicBezTo>
                <a:cubicBezTo>
                  <a:pt x="3389434" y="3056009"/>
                  <a:pt x="3425818" y="2972783"/>
                  <a:pt x="3462501" y="2889278"/>
                </a:cubicBezTo>
                <a:cubicBezTo>
                  <a:pt x="3467419" y="2875600"/>
                  <a:pt x="3470393" y="2862032"/>
                  <a:pt x="3476174" y="2850303"/>
                </a:cubicBezTo>
                <a:lnTo>
                  <a:pt x="3482033" y="2840908"/>
                </a:lnTo>
                <a:lnTo>
                  <a:pt x="3483253" y="2842660"/>
                </a:lnTo>
                <a:cubicBezTo>
                  <a:pt x="3474193" y="2862677"/>
                  <a:pt x="3467099" y="2879773"/>
                  <a:pt x="3478935" y="2856758"/>
                </a:cubicBezTo>
                <a:lnTo>
                  <a:pt x="3485218" y="2844120"/>
                </a:lnTo>
                <a:lnTo>
                  <a:pt x="3485226" y="2844127"/>
                </a:lnTo>
                <a:lnTo>
                  <a:pt x="3485267" y="2844021"/>
                </a:lnTo>
                <a:lnTo>
                  <a:pt x="3497709" y="2818993"/>
                </a:lnTo>
                <a:cubicBezTo>
                  <a:pt x="3495797" y="2821465"/>
                  <a:pt x="3492204" y="2827774"/>
                  <a:pt x="3489326" y="2833453"/>
                </a:cubicBezTo>
                <a:lnTo>
                  <a:pt x="3485267" y="2844021"/>
                </a:lnTo>
                <a:lnTo>
                  <a:pt x="3485218" y="2844120"/>
                </a:lnTo>
                <a:lnTo>
                  <a:pt x="3483253" y="2842660"/>
                </a:lnTo>
                <a:cubicBezTo>
                  <a:pt x="3490299" y="2827551"/>
                  <a:pt x="3499146" y="2810767"/>
                  <a:pt x="3501031" y="2810663"/>
                </a:cubicBezTo>
                <a:cubicBezTo>
                  <a:pt x="3499146" y="2810767"/>
                  <a:pt x="3499594" y="2818889"/>
                  <a:pt x="3499594" y="2818889"/>
                </a:cubicBezTo>
                <a:cubicBezTo>
                  <a:pt x="3499855" y="2823606"/>
                  <a:pt x="3503368" y="2818680"/>
                  <a:pt x="3503730" y="2825231"/>
                </a:cubicBezTo>
                <a:cubicBezTo>
                  <a:pt x="3502105" y="2830052"/>
                  <a:pt x="3496857" y="2843483"/>
                  <a:pt x="3493622" y="2853387"/>
                </a:cubicBezTo>
                <a:cubicBezTo>
                  <a:pt x="3471308" y="2911655"/>
                  <a:pt x="3446057" y="2979547"/>
                  <a:pt x="3417596" y="3035001"/>
                </a:cubicBezTo>
                <a:cubicBezTo>
                  <a:pt x="3387911" y="3096831"/>
                  <a:pt x="3348133" y="3152912"/>
                  <a:pt x="3312388" y="3213500"/>
                </a:cubicBezTo>
                <a:cubicBezTo>
                  <a:pt x="3312432" y="3214286"/>
                  <a:pt x="3311095" y="3217185"/>
                  <a:pt x="3309982" y="3219875"/>
                </a:cubicBezTo>
                <a:lnTo>
                  <a:pt x="3309802" y="3220745"/>
                </a:lnTo>
                <a:lnTo>
                  <a:pt x="3328869" y="3200350"/>
                </a:lnTo>
                <a:lnTo>
                  <a:pt x="3350232" y="3165903"/>
                </a:lnTo>
                <a:cubicBezTo>
                  <a:pt x="3357813" y="3152638"/>
                  <a:pt x="3364898" y="3139630"/>
                  <a:pt x="3370219" y="3130400"/>
                </a:cubicBezTo>
                <a:cubicBezTo>
                  <a:pt x="3391509" y="3093477"/>
                  <a:pt x="3407676" y="3066563"/>
                  <a:pt x="3425179" y="3029588"/>
                </a:cubicBezTo>
                <a:cubicBezTo>
                  <a:pt x="3456890" y="2964491"/>
                  <a:pt x="3477106" y="2908180"/>
                  <a:pt x="3504716" y="2843048"/>
                </a:cubicBezTo>
                <a:cubicBezTo>
                  <a:pt x="3508102" y="2833005"/>
                  <a:pt x="3511132" y="2825084"/>
                  <a:pt x="3514622" y="2816940"/>
                </a:cubicBezTo>
                <a:lnTo>
                  <a:pt x="3516212" y="2813497"/>
                </a:lnTo>
                <a:lnTo>
                  <a:pt x="3516395" y="2801904"/>
                </a:lnTo>
                <a:cubicBezTo>
                  <a:pt x="3517417" y="2786947"/>
                  <a:pt x="3519810" y="2770577"/>
                  <a:pt x="3525276" y="2751055"/>
                </a:cubicBezTo>
                <a:cubicBezTo>
                  <a:pt x="3538265" y="2733466"/>
                  <a:pt x="3541212" y="2746432"/>
                  <a:pt x="3541341" y="2765093"/>
                </a:cubicBezTo>
                <a:cubicBezTo>
                  <a:pt x="3544219" y="2784481"/>
                  <a:pt x="3541160" y="2807218"/>
                  <a:pt x="3546933" y="2809608"/>
                </a:cubicBezTo>
                <a:cubicBezTo>
                  <a:pt x="3565442" y="2757085"/>
                  <a:pt x="3570700" y="2700581"/>
                  <a:pt x="3579911" y="2650347"/>
                </a:cubicBezTo>
                <a:cubicBezTo>
                  <a:pt x="3585266" y="2621152"/>
                  <a:pt x="3592261" y="2603574"/>
                  <a:pt x="3597722" y="2581055"/>
                </a:cubicBezTo>
                <a:cubicBezTo>
                  <a:pt x="3600687" y="2557636"/>
                  <a:pt x="3591078" y="2535018"/>
                  <a:pt x="3601457" y="2525604"/>
                </a:cubicBezTo>
                <a:cubicBezTo>
                  <a:pt x="3614137" y="2531478"/>
                  <a:pt x="3624156" y="2579687"/>
                  <a:pt x="3629957" y="2615808"/>
                </a:cubicBezTo>
                <a:cubicBezTo>
                  <a:pt x="3635179" y="2647829"/>
                  <a:pt x="3652206" y="2684454"/>
                  <a:pt x="3635155" y="2742347"/>
                </a:cubicBezTo>
                <a:cubicBezTo>
                  <a:pt x="3649152" y="2728936"/>
                  <a:pt x="3650805" y="2746547"/>
                  <a:pt x="3650242" y="2770185"/>
                </a:cubicBezTo>
                <a:cubicBezTo>
                  <a:pt x="3649030" y="2786771"/>
                  <a:pt x="3647431" y="2806155"/>
                  <a:pt x="3649683" y="2817978"/>
                </a:cubicBezTo>
                <a:lnTo>
                  <a:pt x="3652261" y="2824203"/>
                </a:lnTo>
                <a:lnTo>
                  <a:pt x="3652925" y="2823337"/>
                </a:lnTo>
                <a:cubicBezTo>
                  <a:pt x="3656976" y="2818086"/>
                  <a:pt x="3661213" y="2812786"/>
                  <a:pt x="3663121" y="2811377"/>
                </a:cubicBezTo>
                <a:lnTo>
                  <a:pt x="3663098" y="2814035"/>
                </a:lnTo>
                <a:lnTo>
                  <a:pt x="3662837" y="2815312"/>
                </a:lnTo>
                <a:lnTo>
                  <a:pt x="3657044" y="2824458"/>
                </a:lnTo>
                <a:lnTo>
                  <a:pt x="3652162" y="2830579"/>
                </a:lnTo>
                <a:lnTo>
                  <a:pt x="3624277" y="2915118"/>
                </a:lnTo>
                <a:lnTo>
                  <a:pt x="3627831" y="2912462"/>
                </a:lnTo>
                <a:cubicBezTo>
                  <a:pt x="3630353" y="2912886"/>
                  <a:pt x="3633320" y="2927269"/>
                  <a:pt x="3633801" y="2925457"/>
                </a:cubicBezTo>
                <a:cubicBezTo>
                  <a:pt x="3633320" y="2927269"/>
                  <a:pt x="3632840" y="2929082"/>
                  <a:pt x="3632359" y="2930893"/>
                </a:cubicBezTo>
                <a:cubicBezTo>
                  <a:pt x="3638486" y="2926246"/>
                  <a:pt x="3653977" y="2903298"/>
                  <a:pt x="3643852" y="2923049"/>
                </a:cubicBezTo>
                <a:cubicBezTo>
                  <a:pt x="3631001" y="2944546"/>
                  <a:pt x="3650536" y="2916286"/>
                  <a:pt x="3657823" y="2905840"/>
                </a:cubicBezTo>
                <a:lnTo>
                  <a:pt x="3659528" y="2903473"/>
                </a:lnTo>
                <a:lnTo>
                  <a:pt x="3631257" y="2975865"/>
                </a:lnTo>
                <a:cubicBezTo>
                  <a:pt x="3629733" y="2982520"/>
                  <a:pt x="3626672" y="2995569"/>
                  <a:pt x="3633718" y="2980460"/>
                </a:cubicBezTo>
                <a:cubicBezTo>
                  <a:pt x="3642405" y="2960793"/>
                  <a:pt x="3648876" y="2940986"/>
                  <a:pt x="3659520" y="2922524"/>
                </a:cubicBezTo>
                <a:cubicBezTo>
                  <a:pt x="3657634" y="2931170"/>
                  <a:pt x="3655096" y="2939425"/>
                  <a:pt x="3652226" y="2947486"/>
                </a:cubicBezTo>
                <a:lnTo>
                  <a:pt x="3645246" y="2965378"/>
                </a:lnTo>
                <a:lnTo>
                  <a:pt x="3643579" y="2968121"/>
                </a:lnTo>
                <a:cubicBezTo>
                  <a:pt x="3639346" y="2975217"/>
                  <a:pt x="3637658" y="2978837"/>
                  <a:pt x="3637539" y="2980281"/>
                </a:cubicBezTo>
                <a:lnTo>
                  <a:pt x="3639627" y="2979729"/>
                </a:lnTo>
                <a:lnTo>
                  <a:pt x="3633606" y="2995069"/>
                </a:lnTo>
                <a:cubicBezTo>
                  <a:pt x="3630697" y="3003130"/>
                  <a:pt x="3628100" y="3011389"/>
                  <a:pt x="3626134" y="3020040"/>
                </a:cubicBezTo>
                <a:lnTo>
                  <a:pt x="3632581" y="3005392"/>
                </a:lnTo>
                <a:lnTo>
                  <a:pt x="3645993" y="2974912"/>
                </a:lnTo>
                <a:lnTo>
                  <a:pt x="3647888" y="2973239"/>
                </a:lnTo>
                <a:cubicBezTo>
                  <a:pt x="3650157" y="2971181"/>
                  <a:pt x="3652048" y="2969548"/>
                  <a:pt x="3652589" y="2969638"/>
                </a:cubicBezTo>
                <a:cubicBezTo>
                  <a:pt x="3654751" y="2970002"/>
                  <a:pt x="3635657" y="2998023"/>
                  <a:pt x="3633656" y="3005574"/>
                </a:cubicBezTo>
                <a:cubicBezTo>
                  <a:pt x="3642984" y="2997363"/>
                  <a:pt x="3642342" y="2991261"/>
                  <a:pt x="3652271" y="2979365"/>
                </a:cubicBezTo>
                <a:cubicBezTo>
                  <a:pt x="3652271" y="2979365"/>
                  <a:pt x="3661524" y="2964418"/>
                  <a:pt x="3667064" y="2957099"/>
                </a:cubicBezTo>
                <a:lnTo>
                  <a:pt x="3669044" y="2955058"/>
                </a:lnTo>
                <a:lnTo>
                  <a:pt x="3685118" y="2878864"/>
                </a:lnTo>
                <a:cubicBezTo>
                  <a:pt x="3688592" y="2865966"/>
                  <a:pt x="3693543" y="2832925"/>
                  <a:pt x="3695837" y="2799841"/>
                </a:cubicBezTo>
                <a:cubicBezTo>
                  <a:pt x="3700533" y="2766975"/>
                  <a:pt x="3705877" y="2731788"/>
                  <a:pt x="3715195" y="2714857"/>
                </a:cubicBezTo>
                <a:cubicBezTo>
                  <a:pt x="3726902" y="2692151"/>
                  <a:pt x="3729893" y="2702462"/>
                  <a:pt x="3730601" y="2725225"/>
                </a:cubicBezTo>
                <a:cubicBezTo>
                  <a:pt x="3732035" y="2745235"/>
                  <a:pt x="3728862" y="2777047"/>
                  <a:pt x="3725538" y="2793967"/>
                </a:cubicBezTo>
                <a:lnTo>
                  <a:pt x="3722005" y="2816851"/>
                </a:lnTo>
                <a:lnTo>
                  <a:pt x="3726483" y="2810640"/>
                </a:lnTo>
                <a:lnTo>
                  <a:pt x="3730889" y="2804912"/>
                </a:lnTo>
                <a:lnTo>
                  <a:pt x="3729559" y="2809313"/>
                </a:lnTo>
                <a:cubicBezTo>
                  <a:pt x="3727482" y="2815933"/>
                  <a:pt x="3726459" y="2819554"/>
                  <a:pt x="3726213" y="2821153"/>
                </a:cubicBezTo>
                <a:lnTo>
                  <a:pt x="3726755" y="2821030"/>
                </a:lnTo>
                <a:lnTo>
                  <a:pt x="3719833" y="2830910"/>
                </a:lnTo>
                <a:lnTo>
                  <a:pt x="3704702" y="2928910"/>
                </a:lnTo>
                <a:lnTo>
                  <a:pt x="3703468" y="2933529"/>
                </a:lnTo>
                <a:lnTo>
                  <a:pt x="3703993" y="2934040"/>
                </a:lnTo>
                <a:lnTo>
                  <a:pt x="3702738" y="2936262"/>
                </a:lnTo>
                <a:lnTo>
                  <a:pt x="3687150" y="2994599"/>
                </a:lnTo>
                <a:lnTo>
                  <a:pt x="3687992" y="2995163"/>
                </a:lnTo>
                <a:cubicBezTo>
                  <a:pt x="3697441" y="2985080"/>
                  <a:pt x="3698800" y="2971426"/>
                  <a:pt x="3707768" y="2963155"/>
                </a:cubicBezTo>
                <a:cubicBezTo>
                  <a:pt x="3711251" y="2959956"/>
                  <a:pt x="3713414" y="2960320"/>
                  <a:pt x="3718218" y="2959236"/>
                </a:cubicBezTo>
                <a:cubicBezTo>
                  <a:pt x="3729229" y="2953202"/>
                  <a:pt x="3734833" y="2940580"/>
                  <a:pt x="3742559" y="2929891"/>
                </a:cubicBezTo>
                <a:lnTo>
                  <a:pt x="3756165" y="2910344"/>
                </a:lnTo>
                <a:lnTo>
                  <a:pt x="3771601" y="2863428"/>
                </a:lnTo>
                <a:cubicBezTo>
                  <a:pt x="3775234" y="2823045"/>
                  <a:pt x="3783866" y="2768712"/>
                  <a:pt x="3790650" y="2711156"/>
                </a:cubicBezTo>
                <a:cubicBezTo>
                  <a:pt x="3785251" y="2678881"/>
                  <a:pt x="3778692" y="2654160"/>
                  <a:pt x="3772771" y="2605369"/>
                </a:cubicBezTo>
                <a:cubicBezTo>
                  <a:pt x="3772771" y="2605369"/>
                  <a:pt x="3772771" y="2605369"/>
                  <a:pt x="3764473" y="2541722"/>
                </a:cubicBezTo>
                <a:cubicBezTo>
                  <a:pt x="3761584" y="2516340"/>
                  <a:pt x="3759167" y="2488383"/>
                  <a:pt x="3762237" y="2471640"/>
                </a:cubicBezTo>
                <a:cubicBezTo>
                  <a:pt x="3769138" y="2426753"/>
                  <a:pt x="3784852" y="2504408"/>
                  <a:pt x="3790318" y="2530260"/>
                </a:cubicBezTo>
                <a:cubicBezTo>
                  <a:pt x="3798336" y="2560352"/>
                  <a:pt x="3814888" y="2599553"/>
                  <a:pt x="3814325" y="2623191"/>
                </a:cubicBezTo>
                <a:cubicBezTo>
                  <a:pt x="3817688" y="2645996"/>
                  <a:pt x="3804658" y="2703739"/>
                  <a:pt x="3813236" y="2710192"/>
                </a:cubicBezTo>
                <a:cubicBezTo>
                  <a:pt x="3823304" y="2675870"/>
                  <a:pt x="3824428" y="2628593"/>
                  <a:pt x="3825730" y="2581570"/>
                </a:cubicBezTo>
                <a:cubicBezTo>
                  <a:pt x="3827839" y="2542239"/>
                  <a:pt x="3827902" y="2487445"/>
                  <a:pt x="3824020" y="2448126"/>
                </a:cubicBezTo>
                <a:cubicBezTo>
                  <a:pt x="3817070" y="2383171"/>
                  <a:pt x="3798498" y="2362239"/>
                  <a:pt x="3783065" y="2318141"/>
                </a:cubicBezTo>
                <a:cubicBezTo>
                  <a:pt x="3783065" y="2318141"/>
                  <a:pt x="3783065" y="2318141"/>
                  <a:pt x="3755515" y="2244530"/>
                </a:cubicBezTo>
                <a:cubicBezTo>
                  <a:pt x="3745719" y="2215665"/>
                  <a:pt x="3737056" y="2187895"/>
                  <a:pt x="3737804" y="2170503"/>
                </a:cubicBezTo>
                <a:cubicBezTo>
                  <a:pt x="3738366" y="2146864"/>
                  <a:pt x="3755206" y="2177243"/>
                  <a:pt x="3772625" y="2211720"/>
                </a:cubicBezTo>
                <a:cubicBezTo>
                  <a:pt x="3789397" y="2248520"/>
                  <a:pt x="3805732" y="2290121"/>
                  <a:pt x="3812845" y="2285211"/>
                </a:cubicBezTo>
                <a:cubicBezTo>
                  <a:pt x="3798716" y="2188933"/>
                  <a:pt x="3778008" y="2093819"/>
                  <a:pt x="3751729" y="2008666"/>
                </a:cubicBezTo>
                <a:lnTo>
                  <a:pt x="3745653" y="1991046"/>
                </a:lnTo>
                <a:lnTo>
                  <a:pt x="3746228" y="1991884"/>
                </a:lnTo>
                <a:cubicBezTo>
                  <a:pt x="3751284" y="2000219"/>
                  <a:pt x="3759308" y="2014360"/>
                  <a:pt x="3763672" y="2021993"/>
                </a:cubicBezTo>
                <a:lnTo>
                  <a:pt x="3765726" y="2025458"/>
                </a:lnTo>
                <a:lnTo>
                  <a:pt x="3735805" y="1922395"/>
                </a:lnTo>
                <a:cubicBezTo>
                  <a:pt x="3734533" y="1913054"/>
                  <a:pt x="3731939" y="1894727"/>
                  <a:pt x="3739758" y="1916381"/>
                </a:cubicBezTo>
                <a:cubicBezTo>
                  <a:pt x="3749271" y="1944505"/>
                  <a:pt x="3755718" y="1972548"/>
                  <a:pt x="3768074" y="1999257"/>
                </a:cubicBezTo>
                <a:cubicBezTo>
                  <a:pt x="3766549" y="1987132"/>
                  <a:pt x="3764080" y="1975463"/>
                  <a:pt x="3761131" y="1964022"/>
                </a:cubicBezTo>
                <a:lnTo>
                  <a:pt x="3753747" y="1938550"/>
                </a:lnTo>
                <a:lnTo>
                  <a:pt x="3751793" y="1934571"/>
                </a:lnTo>
                <a:cubicBezTo>
                  <a:pt x="3746849" y="1924289"/>
                  <a:pt x="3744975" y="1919100"/>
                  <a:pt x="3744992" y="1917099"/>
                </a:cubicBezTo>
                <a:lnTo>
                  <a:pt x="3747795" y="1918116"/>
                </a:lnTo>
                <a:lnTo>
                  <a:pt x="3741413" y="1896274"/>
                </a:lnTo>
                <a:cubicBezTo>
                  <a:pt x="3738410" y="1884825"/>
                  <a:pt x="3735859" y="1873146"/>
                  <a:pt x="3734228" y="1861005"/>
                </a:cubicBezTo>
                <a:lnTo>
                  <a:pt x="3741281" y="1881948"/>
                </a:lnTo>
                <a:lnTo>
                  <a:pt x="3755953" y="1925530"/>
                </a:lnTo>
                <a:lnTo>
                  <a:pt x="3758352" y="1928066"/>
                </a:lnTo>
                <a:cubicBezTo>
                  <a:pt x="3761218" y="1931177"/>
                  <a:pt x="3763618" y="1933659"/>
                  <a:pt x="3764373" y="1933600"/>
                </a:cubicBezTo>
                <a:cubicBezTo>
                  <a:pt x="3767391" y="1933368"/>
                  <a:pt x="3744597" y="1892466"/>
                  <a:pt x="3742781" y="1881832"/>
                </a:cubicBezTo>
                <a:cubicBezTo>
                  <a:pt x="3754596" y="1894279"/>
                  <a:pt x="3752956" y="1902594"/>
                  <a:pt x="3765139" y="1920182"/>
                </a:cubicBezTo>
                <a:cubicBezTo>
                  <a:pt x="3765139" y="1920182"/>
                  <a:pt x="3784478" y="1958764"/>
                  <a:pt x="3787497" y="1958531"/>
                </a:cubicBezTo>
                <a:lnTo>
                  <a:pt x="3785139" y="1926825"/>
                </a:lnTo>
                <a:cubicBezTo>
                  <a:pt x="3786648" y="1926708"/>
                  <a:pt x="3802726" y="1951430"/>
                  <a:pt x="3815413" y="1970111"/>
                </a:cubicBezTo>
                <a:lnTo>
                  <a:pt x="3818009" y="1973853"/>
                </a:lnTo>
                <a:lnTo>
                  <a:pt x="3819461" y="1976897"/>
                </a:lnTo>
                <a:lnTo>
                  <a:pt x="3818940" y="1975196"/>
                </a:lnTo>
                <a:lnTo>
                  <a:pt x="3824013" y="1982508"/>
                </a:lnTo>
                <a:cubicBezTo>
                  <a:pt x="3831416" y="1992805"/>
                  <a:pt x="3834386" y="1995363"/>
                  <a:pt x="3825348" y="1977154"/>
                </a:cubicBezTo>
                <a:lnTo>
                  <a:pt x="3811823" y="1951935"/>
                </a:lnTo>
                <a:lnTo>
                  <a:pt x="3797492" y="1905105"/>
                </a:lnTo>
                <a:lnTo>
                  <a:pt x="3793933" y="1896920"/>
                </a:lnTo>
                <a:lnTo>
                  <a:pt x="3801062" y="1906635"/>
                </a:lnTo>
                <a:cubicBezTo>
                  <a:pt x="3801571" y="1909611"/>
                  <a:pt x="3816661" y="1905429"/>
                  <a:pt x="3816224" y="1902879"/>
                </a:cubicBezTo>
                <a:cubicBezTo>
                  <a:pt x="3827971" y="1917915"/>
                  <a:pt x="3828150" y="1936862"/>
                  <a:pt x="3839461" y="1949348"/>
                </a:cubicBezTo>
                <a:cubicBezTo>
                  <a:pt x="3843855" y="1954179"/>
                  <a:pt x="3846875" y="1953946"/>
                  <a:pt x="3853348" y="1956032"/>
                </a:cubicBezTo>
                <a:cubicBezTo>
                  <a:pt x="3867745" y="1965693"/>
                  <a:pt x="3873890" y="1983749"/>
                  <a:pt x="3883192" y="1999405"/>
                </a:cubicBezTo>
                <a:cubicBezTo>
                  <a:pt x="3904606" y="2032225"/>
                  <a:pt x="3916096" y="2063656"/>
                  <a:pt x="3940091" y="2093694"/>
                </a:cubicBezTo>
                <a:lnTo>
                  <a:pt x="3947106" y="2108160"/>
                </a:lnTo>
                <a:lnTo>
                  <a:pt x="3971033" y="2203038"/>
                </a:lnTo>
                <a:cubicBezTo>
                  <a:pt x="4002333" y="2339686"/>
                  <a:pt x="4009960" y="2473548"/>
                  <a:pt x="4010953" y="2578238"/>
                </a:cubicBezTo>
                <a:cubicBezTo>
                  <a:pt x="4019281" y="2504989"/>
                  <a:pt x="4020943" y="2400343"/>
                  <a:pt x="4017989" y="2301506"/>
                </a:cubicBezTo>
                <a:cubicBezTo>
                  <a:pt x="4016900" y="2260258"/>
                  <a:pt x="4011997" y="2210768"/>
                  <a:pt x="4009463" y="2170142"/>
                </a:cubicBezTo>
                <a:cubicBezTo>
                  <a:pt x="4006226" y="2128499"/>
                  <a:pt x="4003150" y="2096872"/>
                  <a:pt x="4008159" y="2088916"/>
                </a:cubicBezTo>
                <a:cubicBezTo>
                  <a:pt x="4017663" y="2078231"/>
                  <a:pt x="4028719" y="2100227"/>
                  <a:pt x="4036145" y="2120226"/>
                </a:cubicBezTo>
                <a:cubicBezTo>
                  <a:pt x="4044623" y="2141750"/>
                  <a:pt x="4052227" y="2162002"/>
                  <a:pt x="4057951" y="2145302"/>
                </a:cubicBezTo>
                <a:lnTo>
                  <a:pt x="4060892" y="2139472"/>
                </a:lnTo>
                <a:lnTo>
                  <a:pt x="4062585" y="2145562"/>
                </a:lnTo>
                <a:lnTo>
                  <a:pt x="4066051" y="2156280"/>
                </a:lnTo>
                <a:lnTo>
                  <a:pt x="4087604" y="2187129"/>
                </a:lnTo>
                <a:lnTo>
                  <a:pt x="4089787" y="2185060"/>
                </a:lnTo>
                <a:cubicBezTo>
                  <a:pt x="4089142" y="2184965"/>
                  <a:pt x="4089591" y="2186588"/>
                  <a:pt x="4090701" y="2189187"/>
                </a:cubicBezTo>
                <a:lnTo>
                  <a:pt x="4094545" y="2197063"/>
                </a:lnTo>
                <a:lnTo>
                  <a:pt x="4110652" y="2220121"/>
                </a:lnTo>
                <a:lnTo>
                  <a:pt x="4108049" y="2210434"/>
                </a:lnTo>
                <a:lnTo>
                  <a:pt x="4114765" y="2208453"/>
                </a:lnTo>
                <a:lnTo>
                  <a:pt x="4101157" y="2182952"/>
                </a:lnTo>
                <a:lnTo>
                  <a:pt x="4118998" y="2206987"/>
                </a:lnTo>
                <a:lnTo>
                  <a:pt x="4116073" y="2191602"/>
                </a:lnTo>
                <a:lnTo>
                  <a:pt x="4115218" y="2184975"/>
                </a:lnTo>
                <a:lnTo>
                  <a:pt x="4063979" y="2105241"/>
                </a:lnTo>
                <a:lnTo>
                  <a:pt x="4062180" y="2102104"/>
                </a:lnTo>
                <a:lnTo>
                  <a:pt x="4059022" y="2078381"/>
                </a:lnTo>
                <a:lnTo>
                  <a:pt x="4055111" y="2058508"/>
                </a:lnTo>
                <a:lnTo>
                  <a:pt x="4057275" y="2062087"/>
                </a:lnTo>
                <a:cubicBezTo>
                  <a:pt x="4060367" y="2066763"/>
                  <a:pt x="4063367" y="2070706"/>
                  <a:pt x="4066086" y="2073189"/>
                </a:cubicBezTo>
                <a:cubicBezTo>
                  <a:pt x="4070553" y="2078446"/>
                  <a:pt x="4079611" y="2077746"/>
                  <a:pt x="4079611" y="2077746"/>
                </a:cubicBezTo>
                <a:cubicBezTo>
                  <a:pt x="4079611" y="2077746"/>
                  <a:pt x="4080710" y="2078954"/>
                  <a:pt x="4081927" y="2080854"/>
                </a:cubicBezTo>
                <a:lnTo>
                  <a:pt x="4083256" y="2084044"/>
                </a:lnTo>
                <a:lnTo>
                  <a:pt x="4081978" y="2082459"/>
                </a:lnTo>
                <a:cubicBezTo>
                  <a:pt x="4080693" y="2080909"/>
                  <a:pt x="4080187" y="2080369"/>
                  <a:pt x="4080218" y="2080555"/>
                </a:cubicBezTo>
                <a:cubicBezTo>
                  <a:pt x="4080282" y="2080927"/>
                  <a:pt x="4082500" y="2084204"/>
                  <a:pt x="4084951" y="2088108"/>
                </a:cubicBezTo>
                <a:cubicBezTo>
                  <a:pt x="4091861" y="2092744"/>
                  <a:pt x="4099207" y="2099934"/>
                  <a:pt x="4099207" y="2099934"/>
                </a:cubicBezTo>
                <a:cubicBezTo>
                  <a:pt x="4108332" y="2096643"/>
                  <a:pt x="4071755" y="2067579"/>
                  <a:pt x="4064668" y="2043996"/>
                </a:cubicBezTo>
                <a:cubicBezTo>
                  <a:pt x="4064230" y="2041444"/>
                  <a:pt x="4065869" y="2033129"/>
                  <a:pt x="4065433" y="2030579"/>
                </a:cubicBezTo>
                <a:cubicBezTo>
                  <a:pt x="4059725" y="2015075"/>
                  <a:pt x="4049985" y="1996867"/>
                  <a:pt x="4040386" y="1976492"/>
                </a:cubicBezTo>
                <a:lnTo>
                  <a:pt x="4037747" y="1972091"/>
                </a:lnTo>
                <a:lnTo>
                  <a:pt x="4037459" y="1970584"/>
                </a:lnTo>
                <a:cubicBezTo>
                  <a:pt x="4035869" y="1960502"/>
                  <a:pt x="4034970" y="1951711"/>
                  <a:pt x="4035198" y="1944798"/>
                </a:cubicBezTo>
                <a:lnTo>
                  <a:pt x="4038903" y="1932829"/>
                </a:lnTo>
                <a:lnTo>
                  <a:pt x="4048904" y="1948719"/>
                </a:lnTo>
                <a:cubicBezTo>
                  <a:pt x="4052609" y="1954782"/>
                  <a:pt x="4055652" y="1959907"/>
                  <a:pt x="4056752" y="1961869"/>
                </a:cubicBezTo>
                <a:cubicBezTo>
                  <a:pt x="4069946" y="1982396"/>
                  <a:pt x="4082128" y="1999986"/>
                  <a:pt x="4086456" y="2007408"/>
                </a:cubicBezTo>
                <a:lnTo>
                  <a:pt x="4092381" y="2016403"/>
                </a:lnTo>
                <a:lnTo>
                  <a:pt x="4093301" y="2018577"/>
                </a:lnTo>
                <a:cubicBezTo>
                  <a:pt x="4100163" y="2036270"/>
                  <a:pt x="4106954" y="2055043"/>
                  <a:pt x="4113306" y="2073348"/>
                </a:cubicBezTo>
                <a:cubicBezTo>
                  <a:pt x="4125168" y="2103036"/>
                  <a:pt x="4120519" y="2053370"/>
                  <a:pt x="4132812" y="2083137"/>
                </a:cubicBezTo>
                <a:cubicBezTo>
                  <a:pt x="4154182" y="2150512"/>
                  <a:pt x="4170881" y="2236112"/>
                  <a:pt x="4181017" y="2323617"/>
                </a:cubicBezTo>
                <a:cubicBezTo>
                  <a:pt x="4185049" y="2329459"/>
                  <a:pt x="4184296" y="2298480"/>
                  <a:pt x="4187031" y="2271467"/>
                </a:cubicBezTo>
                <a:cubicBezTo>
                  <a:pt x="4188284" y="2242852"/>
                  <a:pt x="4191422" y="2219686"/>
                  <a:pt x="4204152" y="2244650"/>
                </a:cubicBezTo>
                <a:cubicBezTo>
                  <a:pt x="4212698" y="2259752"/>
                  <a:pt x="4218905" y="2299719"/>
                  <a:pt x="4222973" y="2345285"/>
                </a:cubicBezTo>
                <a:cubicBezTo>
                  <a:pt x="4226571" y="2393427"/>
                  <a:pt x="4228033" y="2447169"/>
                  <a:pt x="4228431" y="2493395"/>
                </a:cubicBezTo>
                <a:cubicBezTo>
                  <a:pt x="4235948" y="2492331"/>
                  <a:pt x="4240581" y="2514259"/>
                  <a:pt x="4242594" y="2538370"/>
                </a:cubicBezTo>
                <a:cubicBezTo>
                  <a:pt x="4245877" y="2561605"/>
                  <a:pt x="4247715" y="2585460"/>
                  <a:pt x="4250520" y="2589524"/>
                </a:cubicBezTo>
                <a:cubicBezTo>
                  <a:pt x="4255263" y="2538250"/>
                  <a:pt x="4259374" y="2452914"/>
                  <a:pt x="4261424" y="2388499"/>
                </a:cubicBezTo>
                <a:cubicBezTo>
                  <a:pt x="4265445" y="2324224"/>
                  <a:pt x="4268675" y="2279995"/>
                  <a:pt x="4283299" y="2316401"/>
                </a:cubicBezTo>
                <a:cubicBezTo>
                  <a:pt x="4291119" y="2334254"/>
                  <a:pt x="4298727" y="2402879"/>
                  <a:pt x="4300029" y="2484105"/>
                </a:cubicBezTo>
                <a:cubicBezTo>
                  <a:pt x="4300155" y="2523956"/>
                  <a:pt x="4298366" y="2567283"/>
                  <a:pt x="4295542" y="2608702"/>
                </a:cubicBezTo>
                <a:lnTo>
                  <a:pt x="4294855" y="2617095"/>
                </a:lnTo>
                <a:lnTo>
                  <a:pt x="4299882" y="2608663"/>
                </a:lnTo>
                <a:lnTo>
                  <a:pt x="4304032" y="2602499"/>
                </a:lnTo>
                <a:lnTo>
                  <a:pt x="4303967" y="2602928"/>
                </a:lnTo>
                <a:cubicBezTo>
                  <a:pt x="4303121" y="2609448"/>
                  <a:pt x="4294807" y="2630753"/>
                  <a:pt x="4294512" y="2640641"/>
                </a:cubicBezTo>
                <a:cubicBezTo>
                  <a:pt x="4294768" y="2653895"/>
                  <a:pt x="4301513" y="2623006"/>
                  <a:pt x="4302869" y="2619594"/>
                </a:cubicBezTo>
                <a:cubicBezTo>
                  <a:pt x="4304620" y="2612261"/>
                  <a:pt x="4306133" y="2606528"/>
                  <a:pt x="4307555" y="2601543"/>
                </a:cubicBezTo>
                <a:lnTo>
                  <a:pt x="4309930" y="2593739"/>
                </a:lnTo>
                <a:lnTo>
                  <a:pt x="4325149" y="2571133"/>
                </a:lnTo>
                <a:lnTo>
                  <a:pt x="4326756" y="2572603"/>
                </a:lnTo>
                <a:cubicBezTo>
                  <a:pt x="4326290" y="2572680"/>
                  <a:pt x="4326595" y="2571501"/>
                  <a:pt x="4327367" y="2569604"/>
                </a:cubicBezTo>
                <a:lnTo>
                  <a:pt x="4329529" y="2564971"/>
                </a:lnTo>
                <a:lnTo>
                  <a:pt x="4331129" y="2506751"/>
                </a:lnTo>
                <a:cubicBezTo>
                  <a:pt x="4331608" y="2465873"/>
                  <a:pt x="4330867" y="2423635"/>
                  <a:pt x="4328933" y="2385782"/>
                </a:cubicBezTo>
                <a:cubicBezTo>
                  <a:pt x="4328464" y="2308481"/>
                  <a:pt x="4323619" y="2246574"/>
                  <a:pt x="4333745" y="2237336"/>
                </a:cubicBezTo>
                <a:cubicBezTo>
                  <a:pt x="4346297" y="2224547"/>
                  <a:pt x="4362112" y="2287133"/>
                  <a:pt x="4371765" y="2371221"/>
                </a:cubicBezTo>
                <a:cubicBezTo>
                  <a:pt x="4380366" y="2453786"/>
                  <a:pt x="4377652" y="2556908"/>
                  <a:pt x="4373861" y="2624774"/>
                </a:cubicBezTo>
                <a:lnTo>
                  <a:pt x="4373671" y="2627020"/>
                </a:lnTo>
                <a:lnTo>
                  <a:pt x="4380499" y="2616257"/>
                </a:lnTo>
                <a:lnTo>
                  <a:pt x="4384099" y="2610596"/>
                </a:lnTo>
                <a:lnTo>
                  <a:pt x="4383608" y="2617806"/>
                </a:lnTo>
                <a:lnTo>
                  <a:pt x="4383666" y="2620317"/>
                </a:lnTo>
                <a:lnTo>
                  <a:pt x="4373028" y="2638291"/>
                </a:lnTo>
                <a:lnTo>
                  <a:pt x="4372673" y="2638842"/>
                </a:lnTo>
                <a:lnTo>
                  <a:pt x="4363665" y="2745490"/>
                </a:lnTo>
                <a:lnTo>
                  <a:pt x="4366825" y="2740750"/>
                </a:lnTo>
                <a:lnTo>
                  <a:pt x="4366371" y="2742418"/>
                </a:lnTo>
                <a:lnTo>
                  <a:pt x="4362663" y="2756270"/>
                </a:lnTo>
                <a:lnTo>
                  <a:pt x="4362107" y="2757225"/>
                </a:lnTo>
                <a:lnTo>
                  <a:pt x="4355852" y="2803298"/>
                </a:lnTo>
                <a:lnTo>
                  <a:pt x="4361705" y="2785996"/>
                </a:lnTo>
                <a:cubicBezTo>
                  <a:pt x="4367749" y="2768851"/>
                  <a:pt x="4367285" y="2778799"/>
                  <a:pt x="4365651" y="2789275"/>
                </a:cubicBezTo>
                <a:lnTo>
                  <a:pt x="4364423" y="2795777"/>
                </a:lnTo>
                <a:lnTo>
                  <a:pt x="4364879" y="2795067"/>
                </a:lnTo>
                <a:lnTo>
                  <a:pt x="4373998" y="2740180"/>
                </a:lnTo>
                <a:cubicBezTo>
                  <a:pt x="4380058" y="2696247"/>
                  <a:pt x="4385122" y="2651690"/>
                  <a:pt x="4389425" y="2607657"/>
                </a:cubicBezTo>
                <a:cubicBezTo>
                  <a:pt x="4396012" y="2537863"/>
                  <a:pt x="4395558" y="2424175"/>
                  <a:pt x="4389406" y="2323421"/>
                </a:cubicBezTo>
                <a:cubicBezTo>
                  <a:pt x="4383701" y="2223860"/>
                  <a:pt x="4371024" y="2138107"/>
                  <a:pt x="4376714" y="2119180"/>
                </a:cubicBezTo>
                <a:cubicBezTo>
                  <a:pt x="4384969" y="2094733"/>
                  <a:pt x="4396349" y="2147630"/>
                  <a:pt x="4407031" y="2157131"/>
                </a:cubicBezTo>
                <a:cubicBezTo>
                  <a:pt x="4429786" y="2278678"/>
                  <a:pt x="4442238" y="2409211"/>
                  <a:pt x="4437920" y="2540439"/>
                </a:cubicBezTo>
                <a:lnTo>
                  <a:pt x="4426431" y="2709242"/>
                </a:lnTo>
                <a:lnTo>
                  <a:pt x="4433457" y="2680641"/>
                </a:lnTo>
                <a:cubicBezTo>
                  <a:pt x="4433457" y="2680641"/>
                  <a:pt x="4439399" y="2656533"/>
                  <a:pt x="4442028" y="2660889"/>
                </a:cubicBezTo>
                <a:lnTo>
                  <a:pt x="4440658" y="2667459"/>
                </a:lnTo>
                <a:lnTo>
                  <a:pt x="4436141" y="2676044"/>
                </a:lnTo>
                <a:cubicBezTo>
                  <a:pt x="4434491" y="2679451"/>
                  <a:pt x="4433363" y="2682229"/>
                  <a:pt x="4433310" y="2683588"/>
                </a:cubicBezTo>
                <a:lnTo>
                  <a:pt x="4436734" y="2682686"/>
                </a:lnTo>
                <a:lnTo>
                  <a:pt x="4436085" y="2684998"/>
                </a:lnTo>
                <a:cubicBezTo>
                  <a:pt x="4435577" y="2681889"/>
                  <a:pt x="4428237" y="2709151"/>
                  <a:pt x="4434142" y="2708184"/>
                </a:cubicBezTo>
                <a:cubicBezTo>
                  <a:pt x="4436005" y="2707879"/>
                  <a:pt x="4441481" y="2680922"/>
                  <a:pt x="4442538" y="2675697"/>
                </a:cubicBezTo>
                <a:lnTo>
                  <a:pt x="4443122" y="2673676"/>
                </a:lnTo>
                <a:lnTo>
                  <a:pt x="4443294" y="2673428"/>
                </a:lnTo>
                <a:lnTo>
                  <a:pt x="4446600" y="2667438"/>
                </a:lnTo>
                <a:lnTo>
                  <a:pt x="4436541" y="2714074"/>
                </a:lnTo>
                <a:cubicBezTo>
                  <a:pt x="4430975" y="2737555"/>
                  <a:pt x="4425013" y="2761534"/>
                  <a:pt x="4419198" y="2786418"/>
                </a:cubicBezTo>
                <a:cubicBezTo>
                  <a:pt x="4419198" y="2786418"/>
                  <a:pt x="4412237" y="2792611"/>
                  <a:pt x="4416474" y="2795108"/>
                </a:cubicBezTo>
                <a:cubicBezTo>
                  <a:pt x="4418903" y="2796306"/>
                  <a:pt x="4425141" y="2774010"/>
                  <a:pt x="4421062" y="2786113"/>
                </a:cubicBezTo>
                <a:cubicBezTo>
                  <a:pt x="4434260" y="2745926"/>
                  <a:pt x="4441949" y="2695472"/>
                  <a:pt x="4457307" y="2656792"/>
                </a:cubicBezTo>
                <a:cubicBezTo>
                  <a:pt x="4452343" y="2698556"/>
                  <a:pt x="4433202" y="2751152"/>
                  <a:pt x="4422929" y="2797508"/>
                </a:cubicBezTo>
                <a:cubicBezTo>
                  <a:pt x="4422251" y="2799215"/>
                  <a:pt x="4421094" y="2804323"/>
                  <a:pt x="4420612" y="2808923"/>
                </a:cubicBezTo>
                <a:lnTo>
                  <a:pt x="4420592" y="2810535"/>
                </a:lnTo>
                <a:lnTo>
                  <a:pt x="4420897" y="2809976"/>
                </a:lnTo>
                <a:lnTo>
                  <a:pt x="4422341" y="2807441"/>
                </a:lnTo>
                <a:lnTo>
                  <a:pt x="4420548" y="2814041"/>
                </a:lnTo>
                <a:lnTo>
                  <a:pt x="4420537" y="2814951"/>
                </a:lnTo>
                <a:cubicBezTo>
                  <a:pt x="4420776" y="2816507"/>
                  <a:pt x="4421328" y="2817447"/>
                  <a:pt x="4422338" y="2817282"/>
                </a:cubicBezTo>
                <a:lnTo>
                  <a:pt x="4428831" y="2796542"/>
                </a:lnTo>
                <a:cubicBezTo>
                  <a:pt x="4433418" y="2775847"/>
                  <a:pt x="4439346" y="2753601"/>
                  <a:pt x="4446052" y="2734155"/>
                </a:cubicBezTo>
                <a:cubicBezTo>
                  <a:pt x="4442933" y="2751153"/>
                  <a:pt x="4438477" y="2769234"/>
                  <a:pt x="4433650" y="2787974"/>
                </a:cubicBezTo>
                <a:lnTo>
                  <a:pt x="4423107" y="2829621"/>
                </a:lnTo>
                <a:lnTo>
                  <a:pt x="4424368" y="2826383"/>
                </a:lnTo>
                <a:cubicBezTo>
                  <a:pt x="4423416" y="2835181"/>
                  <a:pt x="4421774" y="2843661"/>
                  <a:pt x="4419782" y="2851982"/>
                </a:cubicBezTo>
                <a:lnTo>
                  <a:pt x="4418911" y="2855196"/>
                </a:lnTo>
                <a:lnTo>
                  <a:pt x="4432297" y="2810523"/>
                </a:lnTo>
                <a:cubicBezTo>
                  <a:pt x="4445638" y="2761519"/>
                  <a:pt x="4458118" y="2705561"/>
                  <a:pt x="4467670" y="2644408"/>
                </a:cubicBezTo>
                <a:cubicBezTo>
                  <a:pt x="4487218" y="2523291"/>
                  <a:pt x="4493564" y="2379785"/>
                  <a:pt x="4482047" y="2238110"/>
                </a:cubicBezTo>
                <a:cubicBezTo>
                  <a:pt x="4479501" y="2191491"/>
                  <a:pt x="4470741" y="2136412"/>
                  <a:pt x="4462825" y="2091251"/>
                </a:cubicBezTo>
                <a:cubicBezTo>
                  <a:pt x="4455304" y="2043942"/>
                  <a:pt x="4447573" y="2005026"/>
                  <a:pt x="4447270" y="1986111"/>
                </a:cubicBezTo>
                <a:cubicBezTo>
                  <a:pt x="4447115" y="1933717"/>
                  <a:pt x="4477173" y="2014224"/>
                  <a:pt x="4486029" y="2005862"/>
                </a:cubicBezTo>
                <a:lnTo>
                  <a:pt x="4465493" y="1911043"/>
                </a:lnTo>
                <a:lnTo>
                  <a:pt x="4477422" y="1931967"/>
                </a:lnTo>
                <a:cubicBezTo>
                  <a:pt x="4484993" y="1944579"/>
                  <a:pt x="4493073" y="1956990"/>
                  <a:pt x="4502263" y="1968993"/>
                </a:cubicBezTo>
                <a:lnTo>
                  <a:pt x="4508137" y="1977404"/>
                </a:lnTo>
                <a:lnTo>
                  <a:pt x="4508039" y="1976814"/>
                </a:lnTo>
                <a:cubicBezTo>
                  <a:pt x="4506715" y="1967830"/>
                  <a:pt x="4494728" y="1938614"/>
                  <a:pt x="4494086" y="1924968"/>
                </a:cubicBezTo>
                <a:cubicBezTo>
                  <a:pt x="4494123" y="1906662"/>
                  <a:pt x="4504172" y="1949149"/>
                  <a:pt x="4506124" y="1953828"/>
                </a:cubicBezTo>
                <a:cubicBezTo>
                  <a:pt x="4508717" y="1963912"/>
                  <a:pt x="4510943" y="1971791"/>
                  <a:pt x="4513024" y="1978642"/>
                </a:cubicBezTo>
                <a:lnTo>
                  <a:pt x="4516490" y="1989359"/>
                </a:lnTo>
                <a:lnTo>
                  <a:pt x="4538043" y="2020210"/>
                </a:lnTo>
                <a:lnTo>
                  <a:pt x="4540227" y="2018139"/>
                </a:lnTo>
                <a:cubicBezTo>
                  <a:pt x="4539582" y="2018045"/>
                  <a:pt x="4540031" y="2019667"/>
                  <a:pt x="4541142" y="2022267"/>
                </a:cubicBezTo>
                <a:lnTo>
                  <a:pt x="4544984" y="2030144"/>
                </a:lnTo>
                <a:lnTo>
                  <a:pt x="4561091" y="2053201"/>
                </a:lnTo>
                <a:lnTo>
                  <a:pt x="4558488" y="2043513"/>
                </a:lnTo>
                <a:lnTo>
                  <a:pt x="4560295" y="2042979"/>
                </a:lnTo>
                <a:lnTo>
                  <a:pt x="4581605" y="2151997"/>
                </a:lnTo>
                <a:cubicBezTo>
                  <a:pt x="4601799" y="2275837"/>
                  <a:pt x="4610953" y="2404238"/>
                  <a:pt x="4609017" y="2531855"/>
                </a:cubicBezTo>
                <a:cubicBezTo>
                  <a:pt x="4608254" y="2575038"/>
                  <a:pt x="4606254" y="2618161"/>
                  <a:pt x="4602994" y="2661174"/>
                </a:cubicBezTo>
                <a:lnTo>
                  <a:pt x="4589608" y="2788014"/>
                </a:lnTo>
                <a:lnTo>
                  <a:pt x="4595282" y="2778964"/>
                </a:lnTo>
                <a:cubicBezTo>
                  <a:pt x="4605328" y="2760242"/>
                  <a:pt x="4615103" y="2741502"/>
                  <a:pt x="4628109" y="2723891"/>
                </a:cubicBezTo>
                <a:lnTo>
                  <a:pt x="4632257" y="2717728"/>
                </a:lnTo>
                <a:lnTo>
                  <a:pt x="4632194" y="2718156"/>
                </a:lnTo>
                <a:cubicBezTo>
                  <a:pt x="4631347" y="2724676"/>
                  <a:pt x="4623033" y="2745982"/>
                  <a:pt x="4622738" y="2755870"/>
                </a:cubicBezTo>
                <a:cubicBezTo>
                  <a:pt x="4622995" y="2769123"/>
                  <a:pt x="4629739" y="2738235"/>
                  <a:pt x="4631096" y="2734823"/>
                </a:cubicBezTo>
                <a:cubicBezTo>
                  <a:pt x="4632845" y="2727489"/>
                  <a:pt x="4634358" y="2721757"/>
                  <a:pt x="4635781" y="2716771"/>
                </a:cubicBezTo>
                <a:lnTo>
                  <a:pt x="4638156" y="2708967"/>
                </a:lnTo>
                <a:lnTo>
                  <a:pt x="4647146" y="2695613"/>
                </a:lnTo>
                <a:lnTo>
                  <a:pt x="4656585" y="2609957"/>
                </a:lnTo>
                <a:cubicBezTo>
                  <a:pt x="4660185" y="2567206"/>
                  <a:pt x="4662653" y="2524932"/>
                  <a:pt x="4664062" y="2483366"/>
                </a:cubicBezTo>
                <a:cubicBezTo>
                  <a:pt x="4668572" y="2316003"/>
                  <a:pt x="4656277" y="2157988"/>
                  <a:pt x="4636158" y="2024499"/>
                </a:cubicBezTo>
                <a:cubicBezTo>
                  <a:pt x="4624333" y="1943785"/>
                  <a:pt x="4605224" y="1851973"/>
                  <a:pt x="4613862" y="1846012"/>
                </a:cubicBezTo>
                <a:cubicBezTo>
                  <a:pt x="4625766" y="1835547"/>
                  <a:pt x="4654368" y="1910681"/>
                  <a:pt x="4676852" y="2004663"/>
                </a:cubicBezTo>
                <a:cubicBezTo>
                  <a:pt x="4688001" y="2053969"/>
                  <a:pt x="4698248" y="2105772"/>
                  <a:pt x="4706823" y="2154604"/>
                </a:cubicBezTo>
                <a:cubicBezTo>
                  <a:pt x="4712996" y="2203218"/>
                  <a:pt x="4719213" y="2249178"/>
                  <a:pt x="4725662" y="2282978"/>
                </a:cubicBezTo>
                <a:cubicBezTo>
                  <a:pt x="4724180" y="2243875"/>
                  <a:pt x="4720858" y="2180917"/>
                  <a:pt x="4710526" y="2107799"/>
                </a:cubicBezTo>
                <a:cubicBezTo>
                  <a:pt x="4700112" y="2035110"/>
                  <a:pt x="4684872" y="1954880"/>
                  <a:pt x="4665485" y="1877883"/>
                </a:cubicBezTo>
                <a:cubicBezTo>
                  <a:pt x="4652016" y="1820665"/>
                  <a:pt x="4636835" y="1766471"/>
                  <a:pt x="4623872" y="1720563"/>
                </a:cubicBezTo>
                <a:lnTo>
                  <a:pt x="4614683" y="1687888"/>
                </a:lnTo>
                <a:lnTo>
                  <a:pt x="4615568" y="1688921"/>
                </a:lnTo>
                <a:cubicBezTo>
                  <a:pt x="4615908" y="1686590"/>
                  <a:pt x="4615590" y="1684254"/>
                  <a:pt x="4614903" y="1682185"/>
                </a:cubicBezTo>
                <a:cubicBezTo>
                  <a:pt x="4614217" y="1680117"/>
                  <a:pt x="4613161" y="1678315"/>
                  <a:pt x="4612029" y="1677050"/>
                </a:cubicBezTo>
                <a:cubicBezTo>
                  <a:pt x="4609055" y="1658305"/>
                  <a:pt x="4605204" y="1648586"/>
                  <a:pt x="4602293" y="1632413"/>
                </a:cubicBezTo>
                <a:cubicBezTo>
                  <a:pt x="4602783" y="1633583"/>
                  <a:pt x="4602005" y="1631754"/>
                  <a:pt x="4600618" y="1628283"/>
                </a:cubicBezTo>
                <a:lnTo>
                  <a:pt x="4596768" y="1618220"/>
                </a:lnTo>
                <a:lnTo>
                  <a:pt x="4595562" y="1612952"/>
                </a:lnTo>
                <a:lnTo>
                  <a:pt x="4593409" y="1595638"/>
                </a:lnTo>
                <a:lnTo>
                  <a:pt x="4594752" y="1597618"/>
                </a:lnTo>
                <a:cubicBezTo>
                  <a:pt x="4601068" y="1613168"/>
                  <a:pt x="4608901" y="1645830"/>
                  <a:pt x="4610365" y="1649341"/>
                </a:cubicBezTo>
                <a:cubicBezTo>
                  <a:pt x="4626337" y="1708438"/>
                  <a:pt x="4637695" y="1741961"/>
                  <a:pt x="4655932" y="1803587"/>
                </a:cubicBezTo>
                <a:cubicBezTo>
                  <a:pt x="4655932" y="1803587"/>
                  <a:pt x="4659547" y="1835978"/>
                  <a:pt x="4668351" y="1832870"/>
                </a:cubicBezTo>
                <a:cubicBezTo>
                  <a:pt x="4671612" y="1828585"/>
                  <a:pt x="4653704" y="1782753"/>
                  <a:pt x="4654019" y="1780601"/>
                </a:cubicBezTo>
                <a:cubicBezTo>
                  <a:pt x="4641586" y="1733374"/>
                  <a:pt x="4628903" y="1690870"/>
                  <a:pt x="4617214" y="1641551"/>
                </a:cubicBezTo>
                <a:cubicBezTo>
                  <a:pt x="4623034" y="1673897"/>
                  <a:pt x="4610036" y="1633544"/>
                  <a:pt x="4615513" y="1632147"/>
                </a:cubicBezTo>
                <a:cubicBezTo>
                  <a:pt x="4624002" y="1631190"/>
                  <a:pt x="4637078" y="1692063"/>
                  <a:pt x="4639029" y="1696743"/>
                </a:cubicBezTo>
                <a:cubicBezTo>
                  <a:pt x="4652984" y="1748589"/>
                  <a:pt x="4669583" y="1803384"/>
                  <a:pt x="4684976" y="1866428"/>
                </a:cubicBezTo>
                <a:cubicBezTo>
                  <a:pt x="4684976" y="1866428"/>
                  <a:pt x="4693755" y="1899573"/>
                  <a:pt x="4697278" y="1893494"/>
                </a:cubicBezTo>
                <a:lnTo>
                  <a:pt x="4695231" y="1884456"/>
                </a:lnTo>
                <a:lnTo>
                  <a:pt x="4688789" y="1872712"/>
                </a:lnTo>
                <a:cubicBezTo>
                  <a:pt x="4686431" y="1868046"/>
                  <a:pt x="4684808" y="1864239"/>
                  <a:pt x="4684702" y="1862361"/>
                </a:cubicBezTo>
                <a:lnTo>
                  <a:pt x="4689450" y="1863525"/>
                </a:lnTo>
                <a:lnTo>
                  <a:pt x="4688500" y="1860350"/>
                </a:lnTo>
                <a:cubicBezTo>
                  <a:pt x="4687873" y="1864653"/>
                  <a:pt x="4677089" y="1827187"/>
                  <a:pt x="4685263" y="1828382"/>
                </a:cubicBezTo>
                <a:cubicBezTo>
                  <a:pt x="4687844" y="1828759"/>
                  <a:pt x="4696047" y="1865847"/>
                  <a:pt x="4697631" y="1873037"/>
                </a:cubicBezTo>
                <a:lnTo>
                  <a:pt x="4698487" y="1875815"/>
                </a:lnTo>
                <a:lnTo>
                  <a:pt x="4698729" y="1876152"/>
                </a:lnTo>
                <a:lnTo>
                  <a:pt x="4703435" y="1884343"/>
                </a:lnTo>
                <a:lnTo>
                  <a:pt x="4688437" y="1820192"/>
                </a:lnTo>
                <a:cubicBezTo>
                  <a:pt x="4680193" y="1787905"/>
                  <a:pt x="4671388" y="1754940"/>
                  <a:pt x="4662767" y="1720719"/>
                </a:cubicBezTo>
                <a:cubicBezTo>
                  <a:pt x="4662767" y="1720719"/>
                  <a:pt x="4653007" y="1712336"/>
                  <a:pt x="4658799" y="1708787"/>
                </a:cubicBezTo>
                <a:cubicBezTo>
                  <a:pt x="4662124" y="1707075"/>
                  <a:pt x="4671269" y="1737710"/>
                  <a:pt x="4665348" y="1721098"/>
                </a:cubicBezTo>
                <a:cubicBezTo>
                  <a:pt x="4684528" y="1776270"/>
                  <a:pt x="4696345" y="1845748"/>
                  <a:pt x="4718473" y="1898790"/>
                </a:cubicBezTo>
                <a:cubicBezTo>
                  <a:pt x="4714549" y="1870017"/>
                  <a:pt x="4705667" y="1837589"/>
                  <a:pt x="4695853" y="1804385"/>
                </a:cubicBezTo>
                <a:lnTo>
                  <a:pt x="4676022" y="1734717"/>
                </a:lnTo>
                <a:lnTo>
                  <a:pt x="4693119" y="1780436"/>
                </a:lnTo>
                <a:cubicBezTo>
                  <a:pt x="4713428" y="1840295"/>
                  <a:pt x="4731094" y="1906104"/>
                  <a:pt x="4745814" y="1969820"/>
                </a:cubicBezTo>
                <a:cubicBezTo>
                  <a:pt x="4760105" y="2033457"/>
                  <a:pt x="4770495" y="2094161"/>
                  <a:pt x="4778641" y="2142913"/>
                </a:cubicBezTo>
                <a:cubicBezTo>
                  <a:pt x="4806989" y="2308975"/>
                  <a:pt x="4815090" y="2488633"/>
                  <a:pt x="4803182" y="2669727"/>
                </a:cubicBezTo>
                <a:cubicBezTo>
                  <a:pt x="4789749" y="2851871"/>
                  <a:pt x="4755911" y="3037600"/>
                  <a:pt x="4697993" y="3216698"/>
                </a:cubicBezTo>
                <a:cubicBezTo>
                  <a:pt x="4641679" y="3394314"/>
                  <a:pt x="4562515" y="3567075"/>
                  <a:pt x="4466309" y="3723846"/>
                </a:cubicBezTo>
                <a:cubicBezTo>
                  <a:pt x="4370282" y="3880871"/>
                  <a:pt x="4258267" y="4023427"/>
                  <a:pt x="4139843" y="4145284"/>
                </a:cubicBezTo>
                <a:cubicBezTo>
                  <a:pt x="4109591" y="4180788"/>
                  <a:pt x="4196599" y="4101988"/>
                  <a:pt x="4177236" y="4138602"/>
                </a:cubicBezTo>
                <a:cubicBezTo>
                  <a:pt x="4105485" y="4223747"/>
                  <a:pt x="4004965" y="4303621"/>
                  <a:pt x="3913038" y="4369314"/>
                </a:cubicBezTo>
                <a:cubicBezTo>
                  <a:pt x="3746319" y="4490752"/>
                  <a:pt x="3551269" y="4602116"/>
                  <a:pt x="3335063" y="4686083"/>
                </a:cubicBezTo>
                <a:cubicBezTo>
                  <a:pt x="3119984" y="4771145"/>
                  <a:pt x="2883967" y="4826407"/>
                  <a:pt x="2641447" y="4844536"/>
                </a:cubicBezTo>
                <a:cubicBezTo>
                  <a:pt x="2399628" y="4863678"/>
                  <a:pt x="2151384" y="4845255"/>
                  <a:pt x="1914144" y="4792236"/>
                </a:cubicBezTo>
                <a:cubicBezTo>
                  <a:pt x="1674662" y="4738142"/>
                  <a:pt x="1447163" y="4646525"/>
                  <a:pt x="1243383" y="4528415"/>
                </a:cubicBezTo>
                <a:cubicBezTo>
                  <a:pt x="1120410" y="4457286"/>
                  <a:pt x="1011269" y="4378486"/>
                  <a:pt x="912614" y="4296947"/>
                </a:cubicBezTo>
                <a:cubicBezTo>
                  <a:pt x="814389" y="4215487"/>
                  <a:pt x="725503" y="4129082"/>
                  <a:pt x="643004" y="4040520"/>
                </a:cubicBezTo>
                <a:cubicBezTo>
                  <a:pt x="568243" y="3959368"/>
                  <a:pt x="498599" y="3876932"/>
                  <a:pt x="434218" y="3786365"/>
                </a:cubicBezTo>
                <a:cubicBezTo>
                  <a:pt x="369760" y="3696227"/>
                  <a:pt x="309837" y="3600708"/>
                  <a:pt x="256080" y="3494558"/>
                </a:cubicBezTo>
                <a:cubicBezTo>
                  <a:pt x="147145" y="3279115"/>
                  <a:pt x="67028" y="3034782"/>
                  <a:pt x="27933" y="2785764"/>
                </a:cubicBezTo>
                <a:cubicBezTo>
                  <a:pt x="-600" y="2600144"/>
                  <a:pt x="-6255" y="2411601"/>
                  <a:pt x="6345" y="2231553"/>
                </a:cubicBezTo>
                <a:cubicBezTo>
                  <a:pt x="10545" y="2171538"/>
                  <a:pt x="16774" y="2112465"/>
                  <a:pt x="24861" y="2054759"/>
                </a:cubicBezTo>
                <a:cubicBezTo>
                  <a:pt x="76355" y="1747346"/>
                  <a:pt x="184680" y="1449459"/>
                  <a:pt x="345724" y="1182314"/>
                </a:cubicBezTo>
                <a:cubicBezTo>
                  <a:pt x="522578" y="891883"/>
                  <a:pt x="759853" y="637377"/>
                  <a:pt x="1035959" y="444569"/>
                </a:cubicBezTo>
                <a:cubicBezTo>
                  <a:pt x="1309806" y="249572"/>
                  <a:pt x="1629423" y="111113"/>
                  <a:pt x="1962245" y="43413"/>
                </a:cubicBezTo>
                <a:cubicBezTo>
                  <a:pt x="2073452" y="21414"/>
                  <a:pt x="2184845" y="5660"/>
                  <a:pt x="2296827" y="0"/>
                </a:cubicBez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34" name="Freeform: Shape 33">
            <a:extLst>
              <a:ext uri="{FF2B5EF4-FFF2-40B4-BE49-F238E27FC236}">
                <a16:creationId xmlns:a16="http://schemas.microsoft.com/office/drawing/2014/main" id="{B47BCE62-83D4-4D50-BDE4-4E0901EF9977}"/>
              </a:ext>
            </a:extLst>
          </p:cNvPr>
          <p:cNvSpPr/>
          <p:nvPr userDrawn="1"/>
        </p:nvSpPr>
        <p:spPr>
          <a:xfrm rot="18872170" flipH="1">
            <a:off x="-480184" y="2329763"/>
            <a:ext cx="3399815" cy="6752330"/>
          </a:xfrm>
          <a:custGeom>
            <a:avLst/>
            <a:gdLst>
              <a:gd name="connsiteX0" fmla="*/ 0 w 3399815"/>
              <a:gd name="connsiteY0" fmla="*/ 0 h 6752330"/>
              <a:gd name="connsiteX1" fmla="*/ 51699 w 3399815"/>
              <a:gd name="connsiteY1" fmla="*/ 65376 h 6752330"/>
              <a:gd name="connsiteX2" fmla="*/ 1204645 w 3399815"/>
              <a:gd name="connsiteY2" fmla="*/ 3376165 h 6752330"/>
              <a:gd name="connsiteX3" fmla="*/ 51699 w 3399815"/>
              <a:gd name="connsiteY3" fmla="*/ 6686954 h 6752330"/>
              <a:gd name="connsiteX4" fmla="*/ 0 w 3399815"/>
              <a:gd name="connsiteY4" fmla="*/ 6752330 h 6752330"/>
              <a:gd name="connsiteX5" fmla="*/ 39946 w 3399815"/>
              <a:gd name="connsiteY5" fmla="*/ 6752330 h 6752330"/>
              <a:gd name="connsiteX6" fmla="*/ 3399815 w 3399815"/>
              <a:gd name="connsiteY6" fmla="*/ 3337618 h 6752330"/>
              <a:gd name="connsiteX7" fmla="*/ 7716 w 3399815"/>
              <a:gd name="connsiteY7" fmla="*/ 0 h 675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9815" h="6752330">
                <a:moveTo>
                  <a:pt x="0" y="0"/>
                </a:moveTo>
                <a:lnTo>
                  <a:pt x="51699" y="65376"/>
                </a:lnTo>
                <a:cubicBezTo>
                  <a:pt x="786985" y="1049551"/>
                  <a:pt x="1204645" y="2177393"/>
                  <a:pt x="1204645" y="3376165"/>
                </a:cubicBezTo>
                <a:cubicBezTo>
                  <a:pt x="1204645" y="4574937"/>
                  <a:pt x="786984" y="5702779"/>
                  <a:pt x="51699" y="6686954"/>
                </a:cubicBezTo>
                <a:lnTo>
                  <a:pt x="0" y="6752330"/>
                </a:lnTo>
                <a:lnTo>
                  <a:pt x="39946" y="6752330"/>
                </a:lnTo>
                <a:lnTo>
                  <a:pt x="3399815" y="3337618"/>
                </a:lnTo>
                <a:lnTo>
                  <a:pt x="7716"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 name="Group 4">
            <a:extLst>
              <a:ext uri="{FF2B5EF4-FFF2-40B4-BE49-F238E27FC236}">
                <a16:creationId xmlns:a16="http://schemas.microsoft.com/office/drawing/2014/main" id="{2D6EE267-F7E0-453F-AEC6-924E31E8F67F}"/>
              </a:ext>
            </a:extLst>
          </p:cNvPr>
          <p:cNvGrpSpPr/>
          <p:nvPr userDrawn="1"/>
        </p:nvGrpSpPr>
        <p:grpSpPr>
          <a:xfrm>
            <a:off x="384609" y="6489983"/>
            <a:ext cx="778679" cy="180047"/>
            <a:chOff x="5001272" y="6417413"/>
            <a:chExt cx="778679" cy="180047"/>
          </a:xfrm>
        </p:grpSpPr>
        <p:grpSp>
          <p:nvGrpSpPr>
            <p:cNvPr id="6" name="Group 5">
              <a:extLst>
                <a:ext uri="{FF2B5EF4-FFF2-40B4-BE49-F238E27FC236}">
                  <a16:creationId xmlns:a16="http://schemas.microsoft.com/office/drawing/2014/main" id="{65E1DE8A-03A3-48E2-BE55-FF3E1156B849}"/>
                </a:ext>
              </a:extLst>
            </p:cNvPr>
            <p:cNvGrpSpPr/>
            <p:nvPr/>
          </p:nvGrpSpPr>
          <p:grpSpPr>
            <a:xfrm>
              <a:off x="5001272" y="6417413"/>
              <a:ext cx="180047" cy="180047"/>
              <a:chOff x="5001272" y="6417413"/>
              <a:chExt cx="180047" cy="180047"/>
            </a:xfrm>
          </p:grpSpPr>
          <p:sp>
            <p:nvSpPr>
              <p:cNvPr id="13" name="Oval 12">
                <a:extLst>
                  <a:ext uri="{FF2B5EF4-FFF2-40B4-BE49-F238E27FC236}">
                    <a16:creationId xmlns:a16="http://schemas.microsoft.com/office/drawing/2014/main" id="{A32A7CFE-D9A8-466D-BA62-C9F91D70A19A}"/>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75">
                <a:extLst>
                  <a:ext uri="{FF2B5EF4-FFF2-40B4-BE49-F238E27FC236}">
                    <a16:creationId xmlns:a16="http://schemas.microsoft.com/office/drawing/2014/main" id="{CAC31195-5685-4379-9589-AFF48946289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7" name="Group 6">
              <a:extLst>
                <a:ext uri="{FF2B5EF4-FFF2-40B4-BE49-F238E27FC236}">
                  <a16:creationId xmlns:a16="http://schemas.microsoft.com/office/drawing/2014/main" id="{ECCE3114-8FC3-4367-BBF3-BCAD6D722FD3}"/>
                </a:ext>
              </a:extLst>
            </p:cNvPr>
            <p:cNvGrpSpPr/>
            <p:nvPr/>
          </p:nvGrpSpPr>
          <p:grpSpPr>
            <a:xfrm>
              <a:off x="5300588" y="6417413"/>
              <a:ext cx="180047" cy="180047"/>
              <a:chOff x="5300588" y="6417413"/>
              <a:chExt cx="180047" cy="180047"/>
            </a:xfrm>
          </p:grpSpPr>
          <p:sp>
            <p:nvSpPr>
              <p:cNvPr id="11" name="Oval 10">
                <a:extLst>
                  <a:ext uri="{FF2B5EF4-FFF2-40B4-BE49-F238E27FC236}">
                    <a16:creationId xmlns:a16="http://schemas.microsoft.com/office/drawing/2014/main" id="{C797BA12-8744-4746-AFA1-83C1E10A33A4}"/>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85">
                <a:extLst>
                  <a:ext uri="{FF2B5EF4-FFF2-40B4-BE49-F238E27FC236}">
                    <a16:creationId xmlns:a16="http://schemas.microsoft.com/office/drawing/2014/main" id="{A60DAFAA-922D-42D0-9D6E-A9C681B2161F}"/>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8" name="Group 7">
              <a:extLst>
                <a:ext uri="{FF2B5EF4-FFF2-40B4-BE49-F238E27FC236}">
                  <a16:creationId xmlns:a16="http://schemas.microsoft.com/office/drawing/2014/main" id="{FF16AE4E-1DE5-4875-A021-7802AFA6DA1D}"/>
                </a:ext>
              </a:extLst>
            </p:cNvPr>
            <p:cNvGrpSpPr/>
            <p:nvPr/>
          </p:nvGrpSpPr>
          <p:grpSpPr>
            <a:xfrm>
              <a:off x="5599904" y="6417413"/>
              <a:ext cx="180047" cy="180047"/>
              <a:chOff x="5599904" y="6417413"/>
              <a:chExt cx="180047" cy="180047"/>
            </a:xfrm>
          </p:grpSpPr>
          <p:sp>
            <p:nvSpPr>
              <p:cNvPr id="9" name="Oval 8">
                <a:extLst>
                  <a:ext uri="{FF2B5EF4-FFF2-40B4-BE49-F238E27FC236}">
                    <a16:creationId xmlns:a16="http://schemas.microsoft.com/office/drawing/2014/main" id="{3BD2540B-C524-4219-9799-FE161CDE7895}"/>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87">
                <a:extLst>
                  <a:ext uri="{FF2B5EF4-FFF2-40B4-BE49-F238E27FC236}">
                    <a16:creationId xmlns:a16="http://schemas.microsoft.com/office/drawing/2014/main" id="{1EFF8CC5-01CF-4E65-9E86-39D7F72DACE7}"/>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spTree>
    <p:extLst>
      <p:ext uri="{BB962C8B-B14F-4D97-AF65-F5344CB8AC3E}">
        <p14:creationId xmlns:p14="http://schemas.microsoft.com/office/powerpoint/2010/main" val="567094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250" fill="hold"/>
                                        <p:tgtEl>
                                          <p:spTgt spid="36"/>
                                        </p:tgtEl>
                                        <p:attrNameLst>
                                          <p:attrName>ppt_x</p:attrName>
                                        </p:attrNameLst>
                                      </p:cBhvr>
                                      <p:tavLst>
                                        <p:tav tm="0">
                                          <p:val>
                                            <p:strVal val="#ppt_x"/>
                                          </p:val>
                                        </p:tav>
                                        <p:tav tm="100000">
                                          <p:val>
                                            <p:strVal val="#ppt_x"/>
                                          </p:val>
                                        </p:tav>
                                      </p:tavLst>
                                    </p:anim>
                                    <p:anim calcmode="lin" valueType="num">
                                      <p:cBhvr additive="base">
                                        <p:cTn id="8" dur="125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1250" fill="hold"/>
                                        <p:tgtEl>
                                          <p:spTgt spid="34"/>
                                        </p:tgtEl>
                                        <p:attrNameLst>
                                          <p:attrName>ppt_x</p:attrName>
                                        </p:attrNameLst>
                                      </p:cBhvr>
                                      <p:tavLst>
                                        <p:tav tm="0">
                                          <p:val>
                                            <p:strVal val="#ppt_x"/>
                                          </p:val>
                                        </p:tav>
                                        <p:tav tm="100000">
                                          <p:val>
                                            <p:strVal val="#ppt_x"/>
                                          </p:val>
                                        </p:tav>
                                      </p:tavLst>
                                    </p:anim>
                                    <p:anim calcmode="lin" valueType="num">
                                      <p:cBhvr additive="base">
                                        <p:cTn id="12" dur="125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4" grpId="0" animBg="1"/>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8_Title Slide">
    <p:bg>
      <p:bgPr>
        <a:gradFill flip="none" rotWithShape="1">
          <a:gsLst>
            <a:gs pos="0">
              <a:schemeClr val="accent1">
                <a:lumMod val="60000"/>
                <a:lumOff val="40000"/>
              </a:schemeClr>
            </a:gs>
            <a:gs pos="85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F0A2754-24AF-443A-852A-F725251A84E9}"/>
              </a:ext>
            </a:extLst>
          </p:cNvPr>
          <p:cNvSpPr txBox="1"/>
          <p:nvPr userDrawn="1"/>
        </p:nvSpPr>
        <p:spPr>
          <a:xfrm rot="10800000" flipV="1">
            <a:off x="11443200" y="171152"/>
            <a:ext cx="658761" cy="338554"/>
          </a:xfrm>
          <a:prstGeom prst="rect">
            <a:avLst/>
          </a:prstGeom>
          <a:noFill/>
        </p:spPr>
        <p:txBody>
          <a:bodyPr wrap="square" rtlCol="0">
            <a:spAutoFit/>
          </a:bodyPr>
          <a:lstStyle/>
          <a:p>
            <a:pPr algn="ctr"/>
            <a:fld id="{260E2A6B-A809-4840-BF14-8648BC0BDF87}" type="slidenum">
              <a:rPr lang="id-ID" sz="1600" i="0" smtClean="0">
                <a:solidFill>
                  <a:schemeClr val="bg1">
                    <a:lumMod val="95000"/>
                    <a:alpha val="60000"/>
                  </a:schemeClr>
                </a:solidFill>
                <a:latin typeface="+mj-lt"/>
                <a:ea typeface="Roboto Condensed" panose="02000000000000000000" pitchFamily="2" charset="0"/>
                <a:cs typeface="Segoe UI" panose="020B0502040204020203" pitchFamily="34" charset="0"/>
              </a:rPr>
              <a:pPr algn="ctr"/>
              <a:t>‹#›</a:t>
            </a:fld>
            <a:endParaRPr lang="id-ID" sz="1600" i="0" dirty="0">
              <a:solidFill>
                <a:schemeClr val="bg1">
                  <a:lumMod val="95000"/>
                  <a:alpha val="60000"/>
                </a:schemeClr>
              </a:solidFill>
              <a:latin typeface="+mj-lt"/>
              <a:ea typeface="Roboto Condensed" panose="02000000000000000000" pitchFamily="2" charset="0"/>
              <a:cs typeface="Segoe UI" panose="020B0502040204020203" pitchFamily="34" charset="0"/>
            </a:endParaRPr>
          </a:p>
        </p:txBody>
      </p:sp>
      <p:sp>
        <p:nvSpPr>
          <p:cNvPr id="42" name="TextBox 41">
            <a:extLst>
              <a:ext uri="{FF2B5EF4-FFF2-40B4-BE49-F238E27FC236}">
                <a16:creationId xmlns:a16="http://schemas.microsoft.com/office/drawing/2014/main" id="{B503B4B3-1C08-43B0-8F7C-E070EDF59EC4}"/>
              </a:ext>
            </a:extLst>
          </p:cNvPr>
          <p:cNvSpPr txBox="1"/>
          <p:nvPr userDrawn="1"/>
        </p:nvSpPr>
        <p:spPr>
          <a:xfrm>
            <a:off x="951805" y="502386"/>
            <a:ext cx="10288394" cy="2646878"/>
          </a:xfrm>
          <a:prstGeom prst="rect">
            <a:avLst/>
          </a:prstGeom>
          <a:noFill/>
        </p:spPr>
        <p:txBody>
          <a:bodyPr wrap="none" rtlCol="0">
            <a:spAutoFit/>
          </a:bodyPr>
          <a:lstStyle/>
          <a:p>
            <a:pPr algn="ctr"/>
            <a:r>
              <a:rPr lang="en-US" sz="16600" b="1" spc="-150" dirty="0">
                <a:solidFill>
                  <a:schemeClr val="accent1">
                    <a:lumMod val="75000"/>
                    <a:alpha val="20000"/>
                  </a:schemeClr>
                </a:solidFill>
                <a:latin typeface="Montserrat SemiBold" panose="00000700000000000000" pitchFamily="50" charset="0"/>
              </a:rPr>
              <a:t>Welcome</a:t>
            </a:r>
          </a:p>
        </p:txBody>
      </p:sp>
      <p:grpSp>
        <p:nvGrpSpPr>
          <p:cNvPr id="37" name="Group 58">
            <a:extLst>
              <a:ext uri="{FF2B5EF4-FFF2-40B4-BE49-F238E27FC236}">
                <a16:creationId xmlns:a16="http://schemas.microsoft.com/office/drawing/2014/main" id="{C4CD4253-8776-4625-9A4F-BA55617C5D8F}"/>
              </a:ext>
            </a:extLst>
          </p:cNvPr>
          <p:cNvGrpSpPr>
            <a:grpSpLocks noChangeAspect="1"/>
          </p:cNvGrpSpPr>
          <p:nvPr userDrawn="1"/>
        </p:nvGrpSpPr>
        <p:grpSpPr bwMode="auto">
          <a:xfrm>
            <a:off x="450560" y="340429"/>
            <a:ext cx="482890" cy="486927"/>
            <a:chOff x="3544" y="339"/>
            <a:chExt cx="2392" cy="2412"/>
          </a:xfrm>
        </p:grpSpPr>
        <p:sp>
          <p:nvSpPr>
            <p:cNvPr id="44" name="Freeform 60">
              <a:extLst>
                <a:ext uri="{FF2B5EF4-FFF2-40B4-BE49-F238E27FC236}">
                  <a16:creationId xmlns:a16="http://schemas.microsoft.com/office/drawing/2014/main" id="{F108AAA7-3085-4609-9576-BFA380C6B816}"/>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1">
              <a:extLst>
                <a:ext uri="{FF2B5EF4-FFF2-40B4-BE49-F238E27FC236}">
                  <a16:creationId xmlns:a16="http://schemas.microsoft.com/office/drawing/2014/main" id="{D57C3C39-A25F-4A2B-9D94-386D24619625}"/>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2">
              <a:extLst>
                <a:ext uri="{FF2B5EF4-FFF2-40B4-BE49-F238E27FC236}">
                  <a16:creationId xmlns:a16="http://schemas.microsoft.com/office/drawing/2014/main" id="{02D21CE1-EF2E-4252-9BFA-5393FADC0C72}"/>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3">
              <a:extLst>
                <a:ext uri="{FF2B5EF4-FFF2-40B4-BE49-F238E27FC236}">
                  <a16:creationId xmlns:a16="http://schemas.microsoft.com/office/drawing/2014/main" id="{C91EFD47-71A5-4307-83FE-F744AFC2E93F}"/>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4">
              <a:extLst>
                <a:ext uri="{FF2B5EF4-FFF2-40B4-BE49-F238E27FC236}">
                  <a16:creationId xmlns:a16="http://schemas.microsoft.com/office/drawing/2014/main" id="{D090476B-173C-41A7-AEE1-AE47F4C313A5}"/>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5">
              <a:extLst>
                <a:ext uri="{FF2B5EF4-FFF2-40B4-BE49-F238E27FC236}">
                  <a16:creationId xmlns:a16="http://schemas.microsoft.com/office/drawing/2014/main" id="{E86E1F37-A935-4F8C-B434-70E94F34044A}"/>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6">
              <a:extLst>
                <a:ext uri="{FF2B5EF4-FFF2-40B4-BE49-F238E27FC236}">
                  <a16:creationId xmlns:a16="http://schemas.microsoft.com/office/drawing/2014/main" id="{8A559789-0180-4621-90AD-406EA8BA95B2}"/>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7">
              <a:extLst>
                <a:ext uri="{FF2B5EF4-FFF2-40B4-BE49-F238E27FC236}">
                  <a16:creationId xmlns:a16="http://schemas.microsoft.com/office/drawing/2014/main" id="{13476D90-7CE5-46F8-89CB-EC5C84306102}"/>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8">
              <a:extLst>
                <a:ext uri="{FF2B5EF4-FFF2-40B4-BE49-F238E27FC236}">
                  <a16:creationId xmlns:a16="http://schemas.microsoft.com/office/drawing/2014/main" id="{069FA168-EE64-4692-B71B-87DF8E99FF58}"/>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9">
              <a:extLst>
                <a:ext uri="{FF2B5EF4-FFF2-40B4-BE49-F238E27FC236}">
                  <a16:creationId xmlns:a16="http://schemas.microsoft.com/office/drawing/2014/main" id="{46FD2D6E-4E5D-4E16-BA4D-158DA06C915D}"/>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0">
              <a:extLst>
                <a:ext uri="{FF2B5EF4-FFF2-40B4-BE49-F238E27FC236}">
                  <a16:creationId xmlns:a16="http://schemas.microsoft.com/office/drawing/2014/main" id="{E2FC2D4C-DA34-4124-9860-C8E4A197A2A7}"/>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1">
              <a:extLst>
                <a:ext uri="{FF2B5EF4-FFF2-40B4-BE49-F238E27FC236}">
                  <a16:creationId xmlns:a16="http://schemas.microsoft.com/office/drawing/2014/main" id="{78CC5537-9008-4FAD-A7D9-A95C00192848}"/>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2">
              <a:extLst>
                <a:ext uri="{FF2B5EF4-FFF2-40B4-BE49-F238E27FC236}">
                  <a16:creationId xmlns:a16="http://schemas.microsoft.com/office/drawing/2014/main" id="{D047C555-C57B-4471-B53D-E6403A5C7FC0}"/>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73">
              <a:extLst>
                <a:ext uri="{FF2B5EF4-FFF2-40B4-BE49-F238E27FC236}">
                  <a16:creationId xmlns:a16="http://schemas.microsoft.com/office/drawing/2014/main" id="{FD3777A4-3E16-403F-B7E2-E3A2B069FB4A}"/>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049333E-9936-40E3-B5FA-B6439B78E8AC}"/>
              </a:ext>
            </a:extLst>
          </p:cNvPr>
          <p:cNvGrpSpPr/>
          <p:nvPr userDrawn="1"/>
        </p:nvGrpSpPr>
        <p:grpSpPr>
          <a:xfrm>
            <a:off x="6747907" y="616496"/>
            <a:ext cx="839353" cy="750265"/>
            <a:chOff x="1396667" y="5741849"/>
            <a:chExt cx="1546497" cy="1382353"/>
          </a:xfrm>
        </p:grpSpPr>
        <p:sp>
          <p:nvSpPr>
            <p:cNvPr id="70" name="Freeform 67">
              <a:extLst>
                <a:ext uri="{FF2B5EF4-FFF2-40B4-BE49-F238E27FC236}">
                  <a16:creationId xmlns:a16="http://schemas.microsoft.com/office/drawing/2014/main" id="{3B060CBC-8EEA-4F0C-A362-C671E236271C}"/>
                </a:ext>
              </a:extLst>
            </p:cNvPr>
            <p:cNvSpPr>
              <a:spLocks/>
            </p:cNvSpPr>
            <p:nvPr userDrawn="1"/>
          </p:nvSpPr>
          <p:spPr bwMode="auto">
            <a:xfrm rot="3971298">
              <a:off x="1478739" y="5659777"/>
              <a:ext cx="1382353" cy="1546497"/>
            </a:xfrm>
            <a:custGeom>
              <a:avLst/>
              <a:gdLst>
                <a:gd name="T0" fmla="*/ 244 w 352"/>
                <a:gd name="T1" fmla="*/ 392 h 393"/>
                <a:gd name="T2" fmla="*/ 229 w 352"/>
                <a:gd name="T3" fmla="*/ 389 h 393"/>
                <a:gd name="T4" fmla="*/ 206 w 352"/>
                <a:gd name="T5" fmla="*/ 326 h 393"/>
                <a:gd name="T6" fmla="*/ 192 w 352"/>
                <a:gd name="T7" fmla="*/ 259 h 393"/>
                <a:gd name="T8" fmla="*/ 171 w 352"/>
                <a:gd name="T9" fmla="*/ 288 h 393"/>
                <a:gd name="T10" fmla="*/ 155 w 352"/>
                <a:gd name="T11" fmla="*/ 318 h 393"/>
                <a:gd name="T12" fmla="*/ 138 w 352"/>
                <a:gd name="T13" fmla="*/ 304 h 393"/>
                <a:gd name="T14" fmla="*/ 105 w 352"/>
                <a:gd name="T15" fmla="*/ 320 h 393"/>
                <a:gd name="T16" fmla="*/ 70 w 352"/>
                <a:gd name="T17" fmla="*/ 307 h 393"/>
                <a:gd name="T18" fmla="*/ 35 w 352"/>
                <a:gd name="T19" fmla="*/ 313 h 393"/>
                <a:gd name="T20" fmla="*/ 73 w 352"/>
                <a:gd name="T21" fmla="*/ 263 h 393"/>
                <a:gd name="T22" fmla="*/ 25 w 352"/>
                <a:gd name="T23" fmla="*/ 239 h 393"/>
                <a:gd name="T24" fmla="*/ 43 w 352"/>
                <a:gd name="T25" fmla="*/ 206 h 393"/>
                <a:gd name="T26" fmla="*/ 0 w 352"/>
                <a:gd name="T27" fmla="*/ 146 h 393"/>
                <a:gd name="T28" fmla="*/ 98 w 352"/>
                <a:gd name="T29" fmla="*/ 158 h 393"/>
                <a:gd name="T30" fmla="*/ 88 w 352"/>
                <a:gd name="T31" fmla="*/ 80 h 393"/>
                <a:gd name="T32" fmla="*/ 126 w 352"/>
                <a:gd name="T33" fmla="*/ 69 h 393"/>
                <a:gd name="T34" fmla="*/ 134 w 352"/>
                <a:gd name="T35" fmla="*/ 0 h 393"/>
                <a:gd name="T36" fmla="*/ 172 w 352"/>
                <a:gd name="T37" fmla="*/ 53 h 393"/>
                <a:gd name="T38" fmla="*/ 197 w 352"/>
                <a:gd name="T39" fmla="*/ 50 h 393"/>
                <a:gd name="T40" fmla="*/ 223 w 352"/>
                <a:gd name="T41" fmla="*/ 112 h 393"/>
                <a:gd name="T42" fmla="*/ 296 w 352"/>
                <a:gd name="T43" fmla="*/ 96 h 393"/>
                <a:gd name="T44" fmla="*/ 309 w 352"/>
                <a:gd name="T45" fmla="*/ 107 h 393"/>
                <a:gd name="T46" fmla="*/ 340 w 352"/>
                <a:gd name="T47" fmla="*/ 88 h 393"/>
                <a:gd name="T48" fmla="*/ 320 w 352"/>
                <a:gd name="T49" fmla="*/ 140 h 393"/>
                <a:gd name="T50" fmla="*/ 345 w 352"/>
                <a:gd name="T51" fmla="*/ 169 h 393"/>
                <a:gd name="T52" fmla="*/ 305 w 352"/>
                <a:gd name="T53" fmla="*/ 201 h 393"/>
                <a:gd name="T54" fmla="*/ 323 w 352"/>
                <a:gd name="T55" fmla="*/ 252 h 393"/>
                <a:gd name="T56" fmla="*/ 352 w 352"/>
                <a:gd name="T57" fmla="*/ 263 h 393"/>
                <a:gd name="T58" fmla="*/ 301 w 352"/>
                <a:gd name="T59" fmla="*/ 276 h 393"/>
                <a:gd name="T60" fmla="*/ 278 w 352"/>
                <a:gd name="T61" fmla="*/ 306 h 393"/>
                <a:gd name="T62" fmla="*/ 249 w 352"/>
                <a:gd name="T63" fmla="*/ 288 h 393"/>
                <a:gd name="T64" fmla="*/ 226 w 352"/>
                <a:gd name="T65" fmla="*/ 311 h 393"/>
                <a:gd name="T66" fmla="*/ 205 w 352"/>
                <a:gd name="T67" fmla="*/ 276 h 393"/>
                <a:gd name="T68" fmla="*/ 199 w 352"/>
                <a:gd name="T69" fmla="*/ 257 h 393"/>
                <a:gd name="T70" fmla="*/ 219 w 352"/>
                <a:gd name="T71" fmla="*/ 343 h 393"/>
                <a:gd name="T72" fmla="*/ 244 w 352"/>
                <a:gd name="T73"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2" h="393">
                  <a:moveTo>
                    <a:pt x="244" y="392"/>
                  </a:moveTo>
                  <a:cubicBezTo>
                    <a:pt x="244" y="392"/>
                    <a:pt x="232" y="393"/>
                    <a:pt x="229" y="389"/>
                  </a:cubicBezTo>
                  <a:cubicBezTo>
                    <a:pt x="227" y="386"/>
                    <a:pt x="211" y="352"/>
                    <a:pt x="206" y="326"/>
                  </a:cubicBezTo>
                  <a:cubicBezTo>
                    <a:pt x="200" y="299"/>
                    <a:pt x="192" y="259"/>
                    <a:pt x="192" y="259"/>
                  </a:cubicBezTo>
                  <a:cubicBezTo>
                    <a:pt x="192" y="259"/>
                    <a:pt x="179" y="270"/>
                    <a:pt x="171" y="288"/>
                  </a:cubicBezTo>
                  <a:cubicBezTo>
                    <a:pt x="164" y="307"/>
                    <a:pt x="155" y="318"/>
                    <a:pt x="155" y="318"/>
                  </a:cubicBezTo>
                  <a:cubicBezTo>
                    <a:pt x="155" y="318"/>
                    <a:pt x="154" y="299"/>
                    <a:pt x="138" y="304"/>
                  </a:cubicBezTo>
                  <a:cubicBezTo>
                    <a:pt x="122" y="308"/>
                    <a:pt x="105" y="320"/>
                    <a:pt x="105" y="320"/>
                  </a:cubicBezTo>
                  <a:cubicBezTo>
                    <a:pt x="105" y="320"/>
                    <a:pt x="93" y="305"/>
                    <a:pt x="70" y="307"/>
                  </a:cubicBezTo>
                  <a:cubicBezTo>
                    <a:pt x="46" y="310"/>
                    <a:pt x="35" y="313"/>
                    <a:pt x="35" y="313"/>
                  </a:cubicBezTo>
                  <a:cubicBezTo>
                    <a:pt x="35" y="313"/>
                    <a:pt x="77" y="287"/>
                    <a:pt x="73" y="263"/>
                  </a:cubicBezTo>
                  <a:cubicBezTo>
                    <a:pt x="70" y="238"/>
                    <a:pt x="25" y="239"/>
                    <a:pt x="25" y="239"/>
                  </a:cubicBezTo>
                  <a:cubicBezTo>
                    <a:pt x="25" y="239"/>
                    <a:pt x="51" y="228"/>
                    <a:pt x="43" y="206"/>
                  </a:cubicBezTo>
                  <a:cubicBezTo>
                    <a:pt x="34" y="184"/>
                    <a:pt x="0" y="146"/>
                    <a:pt x="0" y="146"/>
                  </a:cubicBezTo>
                  <a:cubicBezTo>
                    <a:pt x="0" y="146"/>
                    <a:pt x="72" y="172"/>
                    <a:pt x="98" y="158"/>
                  </a:cubicBezTo>
                  <a:cubicBezTo>
                    <a:pt x="124" y="144"/>
                    <a:pt x="88" y="80"/>
                    <a:pt x="88" y="80"/>
                  </a:cubicBezTo>
                  <a:cubicBezTo>
                    <a:pt x="88" y="80"/>
                    <a:pt x="108" y="88"/>
                    <a:pt x="126" y="69"/>
                  </a:cubicBezTo>
                  <a:cubicBezTo>
                    <a:pt x="144" y="50"/>
                    <a:pt x="134" y="0"/>
                    <a:pt x="134" y="0"/>
                  </a:cubicBezTo>
                  <a:cubicBezTo>
                    <a:pt x="134" y="0"/>
                    <a:pt x="157" y="48"/>
                    <a:pt x="172" y="53"/>
                  </a:cubicBezTo>
                  <a:cubicBezTo>
                    <a:pt x="188" y="58"/>
                    <a:pt x="197" y="50"/>
                    <a:pt x="197" y="50"/>
                  </a:cubicBezTo>
                  <a:cubicBezTo>
                    <a:pt x="197" y="50"/>
                    <a:pt x="189" y="94"/>
                    <a:pt x="223" y="112"/>
                  </a:cubicBezTo>
                  <a:cubicBezTo>
                    <a:pt x="256" y="130"/>
                    <a:pt x="296" y="96"/>
                    <a:pt x="296" y="96"/>
                  </a:cubicBezTo>
                  <a:cubicBezTo>
                    <a:pt x="296" y="96"/>
                    <a:pt x="297" y="110"/>
                    <a:pt x="309" y="107"/>
                  </a:cubicBezTo>
                  <a:cubicBezTo>
                    <a:pt x="320" y="103"/>
                    <a:pt x="340" y="88"/>
                    <a:pt x="340" y="88"/>
                  </a:cubicBezTo>
                  <a:cubicBezTo>
                    <a:pt x="340" y="88"/>
                    <a:pt x="319" y="118"/>
                    <a:pt x="320" y="140"/>
                  </a:cubicBezTo>
                  <a:cubicBezTo>
                    <a:pt x="321" y="162"/>
                    <a:pt x="345" y="169"/>
                    <a:pt x="345" y="169"/>
                  </a:cubicBezTo>
                  <a:cubicBezTo>
                    <a:pt x="345" y="169"/>
                    <a:pt x="307" y="178"/>
                    <a:pt x="305" y="201"/>
                  </a:cubicBezTo>
                  <a:cubicBezTo>
                    <a:pt x="303" y="225"/>
                    <a:pt x="309" y="244"/>
                    <a:pt x="323" y="252"/>
                  </a:cubicBezTo>
                  <a:cubicBezTo>
                    <a:pt x="338" y="259"/>
                    <a:pt x="352" y="263"/>
                    <a:pt x="352" y="263"/>
                  </a:cubicBezTo>
                  <a:cubicBezTo>
                    <a:pt x="352" y="263"/>
                    <a:pt x="317" y="261"/>
                    <a:pt x="301" y="276"/>
                  </a:cubicBezTo>
                  <a:cubicBezTo>
                    <a:pt x="286" y="290"/>
                    <a:pt x="278" y="306"/>
                    <a:pt x="278" y="306"/>
                  </a:cubicBezTo>
                  <a:cubicBezTo>
                    <a:pt x="278" y="306"/>
                    <a:pt x="267" y="280"/>
                    <a:pt x="249" y="288"/>
                  </a:cubicBezTo>
                  <a:cubicBezTo>
                    <a:pt x="232" y="297"/>
                    <a:pt x="226" y="311"/>
                    <a:pt x="226" y="311"/>
                  </a:cubicBezTo>
                  <a:cubicBezTo>
                    <a:pt x="226" y="311"/>
                    <a:pt x="209" y="288"/>
                    <a:pt x="205" y="276"/>
                  </a:cubicBezTo>
                  <a:cubicBezTo>
                    <a:pt x="200" y="264"/>
                    <a:pt x="199" y="257"/>
                    <a:pt x="199" y="257"/>
                  </a:cubicBezTo>
                  <a:cubicBezTo>
                    <a:pt x="199" y="257"/>
                    <a:pt x="207" y="314"/>
                    <a:pt x="219" y="343"/>
                  </a:cubicBezTo>
                  <a:cubicBezTo>
                    <a:pt x="231" y="371"/>
                    <a:pt x="244" y="392"/>
                    <a:pt x="244" y="392"/>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68">
              <a:extLst>
                <a:ext uri="{FF2B5EF4-FFF2-40B4-BE49-F238E27FC236}">
                  <a16:creationId xmlns:a16="http://schemas.microsoft.com/office/drawing/2014/main" id="{509AE443-AE2F-40FB-9FC2-A21B46D9D5F0}"/>
                </a:ext>
              </a:extLst>
            </p:cNvPr>
            <p:cNvSpPr>
              <a:spLocks/>
            </p:cNvSpPr>
            <p:nvPr/>
          </p:nvSpPr>
          <p:spPr bwMode="auto">
            <a:xfrm rot="3971298">
              <a:off x="2021236" y="6056035"/>
              <a:ext cx="593816" cy="732212"/>
            </a:xfrm>
            <a:custGeom>
              <a:avLst/>
              <a:gdLst>
                <a:gd name="T0" fmla="*/ 36 w 151"/>
                <a:gd name="T1" fmla="*/ 0 h 186"/>
                <a:gd name="T2" fmla="*/ 65 w 151"/>
                <a:gd name="T3" fmla="*/ 134 h 186"/>
                <a:gd name="T4" fmla="*/ 76 w 151"/>
                <a:gd name="T5" fmla="*/ 171 h 186"/>
                <a:gd name="T6" fmla="*/ 0 w 151"/>
                <a:gd name="T7" fmla="*/ 132 h 186"/>
                <a:gd name="T8" fmla="*/ 50 w 151"/>
                <a:gd name="T9" fmla="*/ 166 h 186"/>
                <a:gd name="T10" fmla="*/ 82 w 151"/>
                <a:gd name="T11" fmla="*/ 186 h 186"/>
                <a:gd name="T12" fmla="*/ 99 w 151"/>
                <a:gd name="T13" fmla="*/ 164 h 186"/>
                <a:gd name="T14" fmla="*/ 116 w 151"/>
                <a:gd name="T15" fmla="*/ 137 h 186"/>
                <a:gd name="T16" fmla="*/ 151 w 151"/>
                <a:gd name="T17" fmla="*/ 91 h 186"/>
                <a:gd name="T18" fmla="*/ 84 w 151"/>
                <a:gd name="T19" fmla="*/ 175 h 186"/>
                <a:gd name="T20" fmla="*/ 70 w 151"/>
                <a:gd name="T21" fmla="*/ 129 h 186"/>
                <a:gd name="T22" fmla="*/ 58 w 151"/>
                <a:gd name="T23" fmla="*/ 83 h 186"/>
                <a:gd name="T24" fmla="*/ 36 w 151"/>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86">
                  <a:moveTo>
                    <a:pt x="36" y="0"/>
                  </a:moveTo>
                  <a:cubicBezTo>
                    <a:pt x="43" y="47"/>
                    <a:pt x="51" y="88"/>
                    <a:pt x="65" y="134"/>
                  </a:cubicBezTo>
                  <a:cubicBezTo>
                    <a:pt x="68" y="144"/>
                    <a:pt x="76" y="161"/>
                    <a:pt x="76" y="171"/>
                  </a:cubicBezTo>
                  <a:cubicBezTo>
                    <a:pt x="49" y="163"/>
                    <a:pt x="28" y="141"/>
                    <a:pt x="0" y="132"/>
                  </a:cubicBezTo>
                  <a:cubicBezTo>
                    <a:pt x="14" y="145"/>
                    <a:pt x="37" y="158"/>
                    <a:pt x="50" y="166"/>
                  </a:cubicBezTo>
                  <a:cubicBezTo>
                    <a:pt x="63" y="174"/>
                    <a:pt x="72" y="177"/>
                    <a:pt x="82" y="186"/>
                  </a:cubicBezTo>
                  <a:cubicBezTo>
                    <a:pt x="86" y="178"/>
                    <a:pt x="94" y="172"/>
                    <a:pt x="99" y="164"/>
                  </a:cubicBezTo>
                  <a:cubicBezTo>
                    <a:pt x="105" y="155"/>
                    <a:pt x="111" y="146"/>
                    <a:pt x="116" y="137"/>
                  </a:cubicBezTo>
                  <a:cubicBezTo>
                    <a:pt x="126" y="121"/>
                    <a:pt x="140" y="105"/>
                    <a:pt x="151" y="91"/>
                  </a:cubicBezTo>
                  <a:cubicBezTo>
                    <a:pt x="126" y="117"/>
                    <a:pt x="104" y="145"/>
                    <a:pt x="84" y="175"/>
                  </a:cubicBezTo>
                  <a:cubicBezTo>
                    <a:pt x="77" y="162"/>
                    <a:pt x="73" y="143"/>
                    <a:pt x="70" y="129"/>
                  </a:cubicBezTo>
                  <a:cubicBezTo>
                    <a:pt x="67" y="114"/>
                    <a:pt x="64" y="98"/>
                    <a:pt x="58" y="83"/>
                  </a:cubicBezTo>
                  <a:cubicBezTo>
                    <a:pt x="49" y="56"/>
                    <a:pt x="46" y="27"/>
                    <a:pt x="36" y="0"/>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Freeform: Shape 35">
            <a:extLst>
              <a:ext uri="{FF2B5EF4-FFF2-40B4-BE49-F238E27FC236}">
                <a16:creationId xmlns:a16="http://schemas.microsoft.com/office/drawing/2014/main" id="{F74B3D95-DAEB-4A1F-9BAE-A4971ADA0E16}"/>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DE39548-B4D5-4312-BE82-89E81A8FCE58}"/>
              </a:ext>
            </a:extLst>
          </p:cNvPr>
          <p:cNvGrpSpPr/>
          <p:nvPr userDrawn="1"/>
        </p:nvGrpSpPr>
        <p:grpSpPr>
          <a:xfrm>
            <a:off x="384609" y="6408421"/>
            <a:ext cx="1131428" cy="261610"/>
            <a:chOff x="5001272" y="6417413"/>
            <a:chExt cx="778679" cy="180047"/>
          </a:xfrm>
        </p:grpSpPr>
        <p:grpSp>
          <p:nvGrpSpPr>
            <p:cNvPr id="39" name="Group 38">
              <a:extLst>
                <a:ext uri="{FF2B5EF4-FFF2-40B4-BE49-F238E27FC236}">
                  <a16:creationId xmlns:a16="http://schemas.microsoft.com/office/drawing/2014/main" id="{2FCE60B4-F58C-49E0-8456-512848CA5EB7}"/>
                </a:ext>
              </a:extLst>
            </p:cNvPr>
            <p:cNvGrpSpPr/>
            <p:nvPr/>
          </p:nvGrpSpPr>
          <p:grpSpPr>
            <a:xfrm>
              <a:off x="5001272" y="6417413"/>
              <a:ext cx="180047" cy="180047"/>
              <a:chOff x="5001272" y="6417413"/>
              <a:chExt cx="180047" cy="180047"/>
            </a:xfrm>
          </p:grpSpPr>
          <p:sp>
            <p:nvSpPr>
              <p:cNvPr id="62" name="Oval 61">
                <a:extLst>
                  <a:ext uri="{FF2B5EF4-FFF2-40B4-BE49-F238E27FC236}">
                    <a16:creationId xmlns:a16="http://schemas.microsoft.com/office/drawing/2014/main" id="{AAFD8449-ECBE-40DF-9351-1163A34C1DA4}"/>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75">
                <a:extLst>
                  <a:ext uri="{FF2B5EF4-FFF2-40B4-BE49-F238E27FC236}">
                    <a16:creationId xmlns:a16="http://schemas.microsoft.com/office/drawing/2014/main" id="{CD4916C9-ED69-4AED-8237-D63C9841B20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40" name="Group 39">
              <a:extLst>
                <a:ext uri="{FF2B5EF4-FFF2-40B4-BE49-F238E27FC236}">
                  <a16:creationId xmlns:a16="http://schemas.microsoft.com/office/drawing/2014/main" id="{35BB62BE-A848-4B00-9A7A-2619487BD295}"/>
                </a:ext>
              </a:extLst>
            </p:cNvPr>
            <p:cNvGrpSpPr/>
            <p:nvPr/>
          </p:nvGrpSpPr>
          <p:grpSpPr>
            <a:xfrm>
              <a:off x="5300588" y="6417413"/>
              <a:ext cx="180047" cy="180047"/>
              <a:chOff x="5300588" y="6417413"/>
              <a:chExt cx="180047" cy="180047"/>
            </a:xfrm>
          </p:grpSpPr>
          <p:sp>
            <p:nvSpPr>
              <p:cNvPr id="60" name="Oval 59">
                <a:extLst>
                  <a:ext uri="{FF2B5EF4-FFF2-40B4-BE49-F238E27FC236}">
                    <a16:creationId xmlns:a16="http://schemas.microsoft.com/office/drawing/2014/main" id="{7F186CB5-5451-428F-893F-FAC9D623B170}"/>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eform 85">
                <a:extLst>
                  <a:ext uri="{FF2B5EF4-FFF2-40B4-BE49-F238E27FC236}">
                    <a16:creationId xmlns:a16="http://schemas.microsoft.com/office/drawing/2014/main" id="{DC2F51B2-A6E6-4D3A-8F97-2E6ADEB6AF38}"/>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41" name="Group 40">
              <a:extLst>
                <a:ext uri="{FF2B5EF4-FFF2-40B4-BE49-F238E27FC236}">
                  <a16:creationId xmlns:a16="http://schemas.microsoft.com/office/drawing/2014/main" id="{A1A9DFAB-B1E5-44F4-8591-0ECBD13DBF55}"/>
                </a:ext>
              </a:extLst>
            </p:cNvPr>
            <p:cNvGrpSpPr/>
            <p:nvPr/>
          </p:nvGrpSpPr>
          <p:grpSpPr>
            <a:xfrm>
              <a:off x="5599904" y="6417413"/>
              <a:ext cx="180047" cy="180047"/>
              <a:chOff x="5599904" y="6417413"/>
              <a:chExt cx="180047" cy="180047"/>
            </a:xfrm>
          </p:grpSpPr>
          <p:sp>
            <p:nvSpPr>
              <p:cNvPr id="43" name="Oval 42">
                <a:extLst>
                  <a:ext uri="{FF2B5EF4-FFF2-40B4-BE49-F238E27FC236}">
                    <a16:creationId xmlns:a16="http://schemas.microsoft.com/office/drawing/2014/main" id="{E3018AF8-D098-4CF5-927F-CAE91AE22750}"/>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eform 87">
                <a:extLst>
                  <a:ext uri="{FF2B5EF4-FFF2-40B4-BE49-F238E27FC236}">
                    <a16:creationId xmlns:a16="http://schemas.microsoft.com/office/drawing/2014/main" id="{416C8BA1-AB8E-4833-9299-B74411DBC1AF}"/>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grpSp>
        <p:nvGrpSpPr>
          <p:cNvPr id="64" name="Group 63">
            <a:extLst>
              <a:ext uri="{FF2B5EF4-FFF2-40B4-BE49-F238E27FC236}">
                <a16:creationId xmlns:a16="http://schemas.microsoft.com/office/drawing/2014/main" id="{16B5556F-D66C-4821-A75E-D0E3E2BC4435}"/>
              </a:ext>
            </a:extLst>
          </p:cNvPr>
          <p:cNvGrpSpPr/>
          <p:nvPr userDrawn="1"/>
        </p:nvGrpSpPr>
        <p:grpSpPr>
          <a:xfrm>
            <a:off x="10027115" y="6409849"/>
            <a:ext cx="1794606" cy="276999"/>
            <a:chOff x="361913" y="6408848"/>
            <a:chExt cx="1794606" cy="276999"/>
          </a:xfrm>
        </p:grpSpPr>
        <p:sp>
          <p:nvSpPr>
            <p:cNvPr id="65" name="Freeform 62">
              <a:extLst>
                <a:ext uri="{FF2B5EF4-FFF2-40B4-BE49-F238E27FC236}">
                  <a16:creationId xmlns:a16="http://schemas.microsoft.com/office/drawing/2014/main" id="{C1CA48A9-87B8-477F-894B-B757E3A86C33}"/>
                </a:ext>
              </a:extLst>
            </p:cNvPr>
            <p:cNvSpPr>
              <a:spLocks noEditPoints="1"/>
            </p:cNvSpPr>
            <p:nvPr/>
          </p:nvSpPr>
          <p:spPr bwMode="auto">
            <a:xfrm>
              <a:off x="361913" y="6479934"/>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7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lumMod val="85000"/>
                  </a:schemeClr>
                </a:solidFill>
              </a:endParaRPr>
            </a:p>
          </p:txBody>
        </p:sp>
        <p:sp>
          <p:nvSpPr>
            <p:cNvPr id="66" name="TextBox 65">
              <a:extLst>
                <a:ext uri="{FF2B5EF4-FFF2-40B4-BE49-F238E27FC236}">
                  <a16:creationId xmlns:a16="http://schemas.microsoft.com/office/drawing/2014/main" id="{5BB7AD9F-FADE-4BDF-A6D3-BF1B76BD38F1}"/>
                </a:ext>
              </a:extLst>
            </p:cNvPr>
            <p:cNvSpPr txBox="1"/>
            <p:nvPr/>
          </p:nvSpPr>
          <p:spPr>
            <a:xfrm>
              <a:off x="435535" y="6408848"/>
              <a:ext cx="1720984" cy="276999"/>
            </a:xfrm>
            <a:prstGeom prst="rect">
              <a:avLst/>
            </a:prstGeom>
            <a:noFill/>
          </p:spPr>
          <p:txBody>
            <a:bodyPr wrap="none" rtlCol="0">
              <a:spAutoFit/>
            </a:bodyPr>
            <a:lstStyle/>
            <a:p>
              <a:r>
                <a:rPr lang="en-US" sz="1200" b="0" dirty="0">
                  <a:solidFill>
                    <a:schemeClr val="bg1">
                      <a:lumMod val="85000"/>
                    </a:schemeClr>
                  </a:solidFill>
                  <a:cs typeface="Segoe UI" panose="020B0502040204020203" pitchFamily="34" charset="0"/>
                </a:rPr>
                <a:t>2019 All Rights Reserved</a:t>
              </a:r>
              <a:endParaRPr lang="id-ID" sz="1200" b="0" dirty="0">
                <a:solidFill>
                  <a:schemeClr val="bg1">
                    <a:lumMod val="85000"/>
                  </a:schemeClr>
                </a:solidFill>
                <a:cs typeface="Segoe UI" panose="020B0502040204020203" pitchFamily="34" charset="0"/>
              </a:endParaRPr>
            </a:p>
          </p:txBody>
        </p:sp>
      </p:grpSp>
    </p:spTree>
    <p:extLst>
      <p:ext uri="{BB962C8B-B14F-4D97-AF65-F5344CB8AC3E}">
        <p14:creationId xmlns:p14="http://schemas.microsoft.com/office/powerpoint/2010/main" val="117452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arn(inVertical)">
                                      <p:cBhvr>
                                        <p:cTn id="7" dur="500"/>
                                        <p:tgtEl>
                                          <p:spTgt spid="4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52812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umn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6138211"/>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lumMod val="95000"/>
            <a:alpha val="25000"/>
          </a:schemeClr>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33991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028699"/>
            <a:ext cx="12191999" cy="5143501"/>
          </a:xfrm>
          <a:prstGeom prst="rect">
            <a:avLst/>
          </a:prstGeom>
          <a:no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8557314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9E045DC-A0C8-4A3E-9D5D-5009BBA360B6}"/>
              </a:ext>
            </a:extLst>
          </p:cNvPr>
          <p:cNvSpPr>
            <a:spLocks noGrp="1"/>
          </p:cNvSpPr>
          <p:nvPr>
            <p:ph type="pic" sz="quarter" idx="10" hasCustomPrompt="1"/>
          </p:nvPr>
        </p:nvSpPr>
        <p:spPr>
          <a:xfrm>
            <a:off x="248970" y="775399"/>
            <a:ext cx="7120414" cy="6082601"/>
          </a:xfrm>
          <a:custGeom>
            <a:avLst/>
            <a:gdLst>
              <a:gd name="connsiteX0" fmla="*/ 0 w 7120414"/>
              <a:gd name="connsiteY0" fmla="*/ 0 h 6082601"/>
              <a:gd name="connsiteX1" fmla="*/ 7120414 w 7120414"/>
              <a:gd name="connsiteY1" fmla="*/ 0 h 6082601"/>
              <a:gd name="connsiteX2" fmla="*/ 7120414 w 7120414"/>
              <a:gd name="connsiteY2" fmla="*/ 6082601 h 6082601"/>
              <a:gd name="connsiteX3" fmla="*/ 0 w 7120414"/>
              <a:gd name="connsiteY3" fmla="*/ 6082601 h 6082601"/>
            </a:gdLst>
            <a:ahLst/>
            <a:cxnLst>
              <a:cxn ang="0">
                <a:pos x="connsiteX0" y="connsiteY0"/>
              </a:cxn>
              <a:cxn ang="0">
                <a:pos x="connsiteX1" y="connsiteY1"/>
              </a:cxn>
              <a:cxn ang="0">
                <a:pos x="connsiteX2" y="connsiteY2"/>
              </a:cxn>
              <a:cxn ang="0">
                <a:pos x="connsiteX3" y="connsiteY3"/>
              </a:cxn>
            </a:cxnLst>
            <a:rect l="l" t="t" r="r" b="b"/>
            <a:pathLst>
              <a:path w="7120414" h="6082601">
                <a:moveTo>
                  <a:pt x="0" y="0"/>
                </a:moveTo>
                <a:lnTo>
                  <a:pt x="7120414" y="0"/>
                </a:lnTo>
                <a:lnTo>
                  <a:pt x="7120414" y="6082601"/>
                </a:lnTo>
                <a:lnTo>
                  <a:pt x="0" y="6082601"/>
                </a:lnTo>
                <a:close/>
              </a:path>
            </a:pathLst>
          </a:custGeom>
          <a:effectLst>
            <a:outerShdw blurRad="304800" sx="104000" sy="104000" algn="ctr" rotWithShape="0">
              <a:schemeClr val="bg1">
                <a:lumMod val="65000"/>
                <a:alpha val="26000"/>
              </a:schemeClr>
            </a:outerShdw>
          </a:effectLst>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15553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BA2478EE-1826-4AAC-9060-6E74241D48AD}"/>
              </a:ext>
            </a:extLst>
          </p:cNvPr>
          <p:cNvSpPr>
            <a:spLocks noGrp="1"/>
          </p:cNvSpPr>
          <p:nvPr>
            <p:ph type="pic" sz="quarter" idx="11" hasCustomPrompt="1"/>
          </p:nvPr>
        </p:nvSpPr>
        <p:spPr>
          <a:xfrm>
            <a:off x="-797608" y="365193"/>
            <a:ext cx="5620639" cy="6492807"/>
          </a:xfrm>
          <a:custGeom>
            <a:avLst/>
            <a:gdLst>
              <a:gd name="connsiteX0" fmla="*/ 0 w 5620639"/>
              <a:gd name="connsiteY0" fmla="*/ 0 h 6492807"/>
              <a:gd name="connsiteX1" fmla="*/ 5620639 w 5620639"/>
              <a:gd name="connsiteY1" fmla="*/ 0 h 6492807"/>
              <a:gd name="connsiteX2" fmla="*/ 5620639 w 5620639"/>
              <a:gd name="connsiteY2" fmla="*/ 6492807 h 6492807"/>
              <a:gd name="connsiteX3" fmla="*/ 0 w 5620639"/>
              <a:gd name="connsiteY3" fmla="*/ 6492807 h 6492807"/>
            </a:gdLst>
            <a:ahLst/>
            <a:cxnLst>
              <a:cxn ang="0">
                <a:pos x="connsiteX0" y="connsiteY0"/>
              </a:cxn>
              <a:cxn ang="0">
                <a:pos x="connsiteX1" y="connsiteY1"/>
              </a:cxn>
              <a:cxn ang="0">
                <a:pos x="connsiteX2" y="connsiteY2"/>
              </a:cxn>
              <a:cxn ang="0">
                <a:pos x="connsiteX3" y="connsiteY3"/>
              </a:cxn>
            </a:cxnLst>
            <a:rect l="l" t="t" r="r" b="b"/>
            <a:pathLst>
              <a:path w="5620639" h="6492807">
                <a:moveTo>
                  <a:pt x="0" y="0"/>
                </a:moveTo>
                <a:lnTo>
                  <a:pt x="5620639" y="0"/>
                </a:lnTo>
                <a:lnTo>
                  <a:pt x="5620639" y="6492807"/>
                </a:lnTo>
                <a:lnTo>
                  <a:pt x="0" y="649280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72015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65689190-519F-48DC-B4E2-CF85065DE807}"/>
              </a:ext>
            </a:extLst>
          </p:cNvPr>
          <p:cNvSpPr>
            <a:spLocks noGrp="1"/>
          </p:cNvSpPr>
          <p:nvPr>
            <p:ph type="pic" sz="quarter" idx="11" hasCustomPrompt="1"/>
          </p:nvPr>
        </p:nvSpPr>
        <p:spPr>
          <a:xfrm>
            <a:off x="1019824" y="2041516"/>
            <a:ext cx="2252787" cy="1129387"/>
          </a:xfrm>
          <a:prstGeom prst="round1Rect">
            <a:avLst/>
          </a:prstGeom>
          <a:solidFill>
            <a:schemeClr val="bg1">
              <a:lumMod val="95000"/>
            </a:schemeClr>
          </a:solidFill>
          <a:ln>
            <a:noFill/>
          </a:ln>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EAA4748C-6CAD-4D64-BE23-45B3DB74C84A}"/>
              </a:ext>
            </a:extLst>
          </p:cNvPr>
          <p:cNvSpPr>
            <a:spLocks noGrp="1"/>
          </p:cNvSpPr>
          <p:nvPr>
            <p:ph type="pic" sz="quarter" idx="14" hasCustomPrompt="1"/>
          </p:nvPr>
        </p:nvSpPr>
        <p:spPr>
          <a:xfrm>
            <a:off x="3271386" y="4840060"/>
            <a:ext cx="2252787" cy="1129385"/>
          </a:xfrm>
          <a:prstGeom prst="round1Rect">
            <a:avLst/>
          </a:prstGeom>
          <a:solidFill>
            <a:schemeClr val="bg1">
              <a:lumMod val="9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
        <p:nvSpPr>
          <p:cNvPr id="14" name="Picture Placeholder 13">
            <a:extLst>
              <a:ext uri="{FF2B5EF4-FFF2-40B4-BE49-F238E27FC236}">
                <a16:creationId xmlns:a16="http://schemas.microsoft.com/office/drawing/2014/main" id="{BE596764-BA9A-4795-A0D3-E4E16D1CDAB1}"/>
              </a:ext>
            </a:extLst>
          </p:cNvPr>
          <p:cNvSpPr>
            <a:spLocks noGrp="1"/>
          </p:cNvSpPr>
          <p:nvPr>
            <p:ph type="pic" sz="quarter" idx="13" hasCustomPrompt="1"/>
          </p:nvPr>
        </p:nvSpPr>
        <p:spPr>
          <a:xfrm>
            <a:off x="2145605" y="3440789"/>
            <a:ext cx="2252787" cy="1129386"/>
          </a:xfrm>
          <a:prstGeom prst="round1Rect">
            <a:avLst/>
          </a:prstGeom>
          <a:solidFill>
            <a:schemeClr val="bg1">
              <a:lumMod val="95000"/>
              <a:alpha val="2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2826034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25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250" fill="hold"/>
                                        <p:tgtEl>
                                          <p:spTgt spid="14"/>
                                        </p:tgtEl>
                                        <p:attrNameLst>
                                          <p:attrName>ppt_x</p:attrName>
                                        </p:attrNameLst>
                                      </p:cBhvr>
                                      <p:tavLst>
                                        <p:tav tm="0">
                                          <p:val>
                                            <p:strVal val="#ppt_x"/>
                                          </p:val>
                                        </p:tav>
                                        <p:tav tm="100000">
                                          <p:val>
                                            <p:strVal val="#ppt_x"/>
                                          </p:val>
                                        </p:tav>
                                      </p:tavLst>
                                    </p:anim>
                                    <p:anim calcmode="lin" valueType="num">
                                      <p:cBhvr additive="base">
                                        <p:cTn id="16" dur="125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5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5" grpId="0" animBg="1"/>
      <p:bldP spid="14" grpId="0" animBg="1"/>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C975014D-8888-4996-927A-8A48A5335F5B}"/>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C96475D6-CD1D-49DB-B1A5-84606A10B107}"/>
              </a:ext>
            </a:extLst>
          </p:cNvPr>
          <p:cNvSpPr>
            <a:spLocks noGrp="1"/>
          </p:cNvSpPr>
          <p:nvPr>
            <p:ph type="pic" sz="quarter" idx="12" hasCustomPrompt="1"/>
          </p:nvPr>
        </p:nvSpPr>
        <p:spPr>
          <a:xfrm>
            <a:off x="224357" y="989927"/>
            <a:ext cx="5256664" cy="3492364"/>
          </a:xfrm>
          <a:custGeom>
            <a:avLst/>
            <a:gdLst>
              <a:gd name="connsiteX0" fmla="*/ 0 w 5256664"/>
              <a:gd name="connsiteY0" fmla="*/ 0 h 3492364"/>
              <a:gd name="connsiteX1" fmla="*/ 5256664 w 5256664"/>
              <a:gd name="connsiteY1" fmla="*/ 0 h 3492364"/>
              <a:gd name="connsiteX2" fmla="*/ 5256664 w 5256664"/>
              <a:gd name="connsiteY2" fmla="*/ 3492364 h 3492364"/>
              <a:gd name="connsiteX3" fmla="*/ 0 w 5256664"/>
              <a:gd name="connsiteY3" fmla="*/ 3492364 h 3492364"/>
            </a:gdLst>
            <a:ahLst/>
            <a:cxnLst>
              <a:cxn ang="0">
                <a:pos x="connsiteX0" y="connsiteY0"/>
              </a:cxn>
              <a:cxn ang="0">
                <a:pos x="connsiteX1" y="connsiteY1"/>
              </a:cxn>
              <a:cxn ang="0">
                <a:pos x="connsiteX2" y="connsiteY2"/>
              </a:cxn>
              <a:cxn ang="0">
                <a:pos x="connsiteX3" y="connsiteY3"/>
              </a:cxn>
            </a:cxnLst>
            <a:rect l="l" t="t" r="r" b="b"/>
            <a:pathLst>
              <a:path w="5256664" h="3492364">
                <a:moveTo>
                  <a:pt x="0" y="0"/>
                </a:moveTo>
                <a:lnTo>
                  <a:pt x="5256664" y="0"/>
                </a:lnTo>
                <a:lnTo>
                  <a:pt x="5256664" y="3492364"/>
                </a:lnTo>
                <a:lnTo>
                  <a:pt x="0" y="349236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10" name="Picture Placeholder 9">
            <a:extLst>
              <a:ext uri="{FF2B5EF4-FFF2-40B4-BE49-F238E27FC236}">
                <a16:creationId xmlns:a16="http://schemas.microsoft.com/office/drawing/2014/main" id="{6960DDED-3ED3-41CB-B286-2408B1EBCCA8}"/>
              </a:ext>
            </a:extLst>
          </p:cNvPr>
          <p:cNvSpPr>
            <a:spLocks noGrp="1"/>
          </p:cNvSpPr>
          <p:nvPr>
            <p:ph type="pic" sz="quarter" idx="11" hasCustomPrompt="1"/>
          </p:nvPr>
        </p:nvSpPr>
        <p:spPr>
          <a:xfrm>
            <a:off x="230594" y="1254824"/>
            <a:ext cx="5250426" cy="5250426"/>
          </a:xfrm>
          <a:custGeom>
            <a:avLst/>
            <a:gdLst>
              <a:gd name="connsiteX0" fmla="*/ 2625213 w 5250426"/>
              <a:gd name="connsiteY0" fmla="*/ 0 h 5250426"/>
              <a:gd name="connsiteX1" fmla="*/ 5250426 w 5250426"/>
              <a:gd name="connsiteY1" fmla="*/ 2625213 h 5250426"/>
              <a:gd name="connsiteX2" fmla="*/ 2625213 w 5250426"/>
              <a:gd name="connsiteY2" fmla="*/ 5250426 h 5250426"/>
              <a:gd name="connsiteX3" fmla="*/ 0 w 5250426"/>
              <a:gd name="connsiteY3" fmla="*/ 2625213 h 5250426"/>
              <a:gd name="connsiteX4" fmla="*/ 2625213 w 5250426"/>
              <a:gd name="connsiteY4" fmla="*/ 0 h 5250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0426" h="5250426">
                <a:moveTo>
                  <a:pt x="2625213" y="0"/>
                </a:moveTo>
                <a:cubicBezTo>
                  <a:pt x="4075078" y="0"/>
                  <a:pt x="5250426" y="1175348"/>
                  <a:pt x="5250426" y="2625213"/>
                </a:cubicBezTo>
                <a:cubicBezTo>
                  <a:pt x="5250426" y="4075078"/>
                  <a:pt x="4075078" y="5250426"/>
                  <a:pt x="2625213" y="5250426"/>
                </a:cubicBezTo>
                <a:cubicBezTo>
                  <a:pt x="1175348" y="5250426"/>
                  <a:pt x="0" y="4075078"/>
                  <a:pt x="0" y="2625213"/>
                </a:cubicBezTo>
                <a:cubicBezTo>
                  <a:pt x="0" y="1175348"/>
                  <a:pt x="1175348" y="0"/>
                  <a:pt x="2625213" y="0"/>
                </a:cubicBez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430E8BF2-5379-4429-A8BC-7FE156B4097A}"/>
              </a:ext>
            </a:extLst>
          </p:cNvPr>
          <p:cNvSpPr>
            <a:spLocks noGrp="1"/>
          </p:cNvSpPr>
          <p:nvPr>
            <p:ph type="pic" sz="quarter" idx="13" hasCustomPrompt="1"/>
          </p:nvPr>
        </p:nvSpPr>
        <p:spPr>
          <a:xfrm>
            <a:off x="1249184" y="4751684"/>
            <a:ext cx="4077393" cy="1741374"/>
          </a:xfrm>
          <a:custGeom>
            <a:avLst/>
            <a:gdLst>
              <a:gd name="connsiteX0" fmla="*/ 0 w 4077393"/>
              <a:gd name="connsiteY0" fmla="*/ 0 h 1741374"/>
              <a:gd name="connsiteX1" fmla="*/ 4077393 w 4077393"/>
              <a:gd name="connsiteY1" fmla="*/ 0 h 1741374"/>
              <a:gd name="connsiteX2" fmla="*/ 4077393 w 4077393"/>
              <a:gd name="connsiteY2" fmla="*/ 1741374 h 1741374"/>
              <a:gd name="connsiteX3" fmla="*/ 0 w 4077393"/>
              <a:gd name="connsiteY3" fmla="*/ 1741374 h 1741374"/>
            </a:gdLst>
            <a:ahLst/>
            <a:cxnLst>
              <a:cxn ang="0">
                <a:pos x="connsiteX0" y="connsiteY0"/>
              </a:cxn>
              <a:cxn ang="0">
                <a:pos x="connsiteX1" y="connsiteY1"/>
              </a:cxn>
              <a:cxn ang="0">
                <a:pos x="connsiteX2" y="connsiteY2"/>
              </a:cxn>
              <a:cxn ang="0">
                <a:pos x="connsiteX3" y="connsiteY3"/>
              </a:cxn>
            </a:cxnLst>
            <a:rect l="l" t="t" r="r" b="b"/>
            <a:pathLst>
              <a:path w="4077393" h="1741374">
                <a:moveTo>
                  <a:pt x="0" y="0"/>
                </a:moveTo>
                <a:lnTo>
                  <a:pt x="4077393" y="0"/>
                </a:lnTo>
                <a:lnTo>
                  <a:pt x="4077393" y="1741374"/>
                </a:lnTo>
                <a:lnTo>
                  <a:pt x="0" y="174137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35430761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247953D-5C31-4D76-BAD5-708AE8A2588F}"/>
              </a:ext>
            </a:extLst>
          </p:cNvPr>
          <p:cNvSpPr>
            <a:spLocks noGrp="1"/>
          </p:cNvSpPr>
          <p:nvPr>
            <p:ph type="pic" sz="quarter" idx="10" hasCustomPrompt="1"/>
          </p:nvPr>
        </p:nvSpPr>
        <p:spPr>
          <a:xfrm>
            <a:off x="6" y="0"/>
            <a:ext cx="12191988" cy="5048250"/>
          </a:xfrm>
          <a:custGeom>
            <a:avLst/>
            <a:gdLst>
              <a:gd name="connsiteX0" fmla="*/ 0 w 12191988"/>
              <a:gd name="connsiteY0" fmla="*/ 0 h 5048250"/>
              <a:gd name="connsiteX1" fmla="*/ 12191988 w 12191988"/>
              <a:gd name="connsiteY1" fmla="*/ 0 h 5048250"/>
              <a:gd name="connsiteX2" fmla="*/ 12191988 w 12191988"/>
              <a:gd name="connsiteY2" fmla="*/ 4804440 h 5048250"/>
              <a:gd name="connsiteX3" fmla="*/ 12172832 w 12191988"/>
              <a:gd name="connsiteY3" fmla="*/ 4899324 h 5048250"/>
              <a:gd name="connsiteX4" fmla="*/ 11948154 w 12191988"/>
              <a:gd name="connsiteY4" fmla="*/ 5048250 h 5048250"/>
              <a:gd name="connsiteX5" fmla="*/ 11704314 w 12191988"/>
              <a:gd name="connsiteY5" fmla="*/ 4804410 h 5048250"/>
              <a:gd name="connsiteX6" fmla="*/ 11704314 w 12191988"/>
              <a:gd name="connsiteY6" fmla="*/ 4072890 h 5048250"/>
              <a:gd name="connsiteX7" fmla="*/ 11460474 w 12191988"/>
              <a:gd name="connsiteY7" fmla="*/ 3829050 h 5048250"/>
              <a:gd name="connsiteX8" fmla="*/ 11216634 w 12191988"/>
              <a:gd name="connsiteY8" fmla="*/ 4072890 h 5048250"/>
              <a:gd name="connsiteX9" fmla="*/ 11216634 w 12191988"/>
              <a:gd name="connsiteY9" fmla="*/ 4804410 h 5048250"/>
              <a:gd name="connsiteX10" fmla="*/ 10972794 w 12191988"/>
              <a:gd name="connsiteY10" fmla="*/ 5048250 h 5048250"/>
              <a:gd name="connsiteX11" fmla="*/ 10728954 w 12191988"/>
              <a:gd name="connsiteY11" fmla="*/ 4804410 h 5048250"/>
              <a:gd name="connsiteX12" fmla="*/ 10728954 w 12191988"/>
              <a:gd name="connsiteY12" fmla="*/ 3139440 h 5048250"/>
              <a:gd name="connsiteX13" fmla="*/ 10485114 w 12191988"/>
              <a:gd name="connsiteY13" fmla="*/ 2895600 h 5048250"/>
              <a:gd name="connsiteX14" fmla="*/ 10241274 w 12191988"/>
              <a:gd name="connsiteY14" fmla="*/ 3139440 h 5048250"/>
              <a:gd name="connsiteX15" fmla="*/ 10241274 w 12191988"/>
              <a:gd name="connsiteY15" fmla="*/ 4804410 h 5048250"/>
              <a:gd name="connsiteX16" fmla="*/ 9997434 w 12191988"/>
              <a:gd name="connsiteY16" fmla="*/ 5048250 h 5048250"/>
              <a:gd name="connsiteX17" fmla="*/ 9753594 w 12191988"/>
              <a:gd name="connsiteY17" fmla="*/ 4804410 h 5048250"/>
              <a:gd name="connsiteX18" fmla="*/ 9753594 w 12191988"/>
              <a:gd name="connsiteY18" fmla="*/ 4330065 h 5048250"/>
              <a:gd name="connsiteX19" fmla="*/ 9509754 w 12191988"/>
              <a:gd name="connsiteY19" fmla="*/ 4086225 h 5048250"/>
              <a:gd name="connsiteX20" fmla="*/ 9265914 w 12191988"/>
              <a:gd name="connsiteY20" fmla="*/ 4330065 h 5048250"/>
              <a:gd name="connsiteX21" fmla="*/ 9265914 w 12191988"/>
              <a:gd name="connsiteY21" fmla="*/ 4804410 h 5048250"/>
              <a:gd name="connsiteX22" fmla="*/ 9022074 w 12191988"/>
              <a:gd name="connsiteY22" fmla="*/ 5048250 h 5048250"/>
              <a:gd name="connsiteX23" fmla="*/ 8778234 w 12191988"/>
              <a:gd name="connsiteY23" fmla="*/ 4804410 h 5048250"/>
              <a:gd name="connsiteX24" fmla="*/ 8778234 w 12191988"/>
              <a:gd name="connsiteY24" fmla="*/ 3920491 h 5048250"/>
              <a:gd name="connsiteX25" fmla="*/ 8534394 w 12191988"/>
              <a:gd name="connsiteY25" fmla="*/ 3676651 h 5048250"/>
              <a:gd name="connsiteX26" fmla="*/ 8290554 w 12191988"/>
              <a:gd name="connsiteY26" fmla="*/ 3920491 h 5048250"/>
              <a:gd name="connsiteX27" fmla="*/ 8290554 w 12191988"/>
              <a:gd name="connsiteY27" fmla="*/ 4804410 h 5048250"/>
              <a:gd name="connsiteX28" fmla="*/ 8046714 w 12191988"/>
              <a:gd name="connsiteY28" fmla="*/ 5048250 h 5048250"/>
              <a:gd name="connsiteX29" fmla="*/ 7802874 w 12191988"/>
              <a:gd name="connsiteY29" fmla="*/ 4804410 h 5048250"/>
              <a:gd name="connsiteX30" fmla="*/ 7802874 w 12191988"/>
              <a:gd name="connsiteY30" fmla="*/ 4606290 h 5048250"/>
              <a:gd name="connsiteX31" fmla="*/ 7559034 w 12191988"/>
              <a:gd name="connsiteY31" fmla="*/ 4362450 h 5048250"/>
              <a:gd name="connsiteX32" fmla="*/ 7315194 w 12191988"/>
              <a:gd name="connsiteY32" fmla="*/ 4606290 h 5048250"/>
              <a:gd name="connsiteX33" fmla="*/ 7315194 w 12191988"/>
              <a:gd name="connsiteY33" fmla="*/ 4804410 h 5048250"/>
              <a:gd name="connsiteX34" fmla="*/ 7071354 w 12191988"/>
              <a:gd name="connsiteY34" fmla="*/ 5048250 h 5048250"/>
              <a:gd name="connsiteX35" fmla="*/ 6827514 w 12191988"/>
              <a:gd name="connsiteY35" fmla="*/ 4804410 h 5048250"/>
              <a:gd name="connsiteX36" fmla="*/ 6827514 w 12191988"/>
              <a:gd name="connsiteY36" fmla="*/ 3444241 h 5048250"/>
              <a:gd name="connsiteX37" fmla="*/ 6583674 w 12191988"/>
              <a:gd name="connsiteY37" fmla="*/ 3200401 h 5048250"/>
              <a:gd name="connsiteX38" fmla="*/ 6339834 w 12191988"/>
              <a:gd name="connsiteY38" fmla="*/ 3444241 h 5048250"/>
              <a:gd name="connsiteX39" fmla="*/ 6339834 w 12191988"/>
              <a:gd name="connsiteY39" fmla="*/ 4804410 h 5048250"/>
              <a:gd name="connsiteX40" fmla="*/ 6095995 w 12191988"/>
              <a:gd name="connsiteY40" fmla="*/ 5048250 h 5048250"/>
              <a:gd name="connsiteX41" fmla="*/ 5852155 w 12191988"/>
              <a:gd name="connsiteY41" fmla="*/ 4804410 h 5048250"/>
              <a:gd name="connsiteX42" fmla="*/ 5852155 w 12191988"/>
              <a:gd name="connsiteY42" fmla="*/ 4072891 h 5048250"/>
              <a:gd name="connsiteX43" fmla="*/ 5608315 w 12191988"/>
              <a:gd name="connsiteY43" fmla="*/ 3829051 h 5048250"/>
              <a:gd name="connsiteX44" fmla="*/ 5364474 w 12191988"/>
              <a:gd name="connsiteY44" fmla="*/ 4072891 h 5048250"/>
              <a:gd name="connsiteX45" fmla="*/ 5364474 w 12191988"/>
              <a:gd name="connsiteY45" fmla="*/ 4804425 h 5048250"/>
              <a:gd name="connsiteX46" fmla="*/ 5345317 w 12191988"/>
              <a:gd name="connsiteY46" fmla="*/ 4899324 h 5048250"/>
              <a:gd name="connsiteX47" fmla="*/ 5120638 w 12191988"/>
              <a:gd name="connsiteY47" fmla="*/ 5048250 h 5048250"/>
              <a:gd name="connsiteX48" fmla="*/ 4876797 w 12191988"/>
              <a:gd name="connsiteY48" fmla="*/ 4804410 h 5048250"/>
              <a:gd name="connsiteX49" fmla="*/ 4876795 w 12191988"/>
              <a:gd name="connsiteY49" fmla="*/ 4804421 h 5048250"/>
              <a:gd name="connsiteX50" fmla="*/ 4876795 w 12191988"/>
              <a:gd name="connsiteY50" fmla="*/ 3139442 h 5048250"/>
              <a:gd name="connsiteX51" fmla="*/ 4632956 w 12191988"/>
              <a:gd name="connsiteY51" fmla="*/ 2895602 h 5048250"/>
              <a:gd name="connsiteX52" fmla="*/ 4389116 w 12191988"/>
              <a:gd name="connsiteY52" fmla="*/ 3139442 h 5048250"/>
              <a:gd name="connsiteX53" fmla="*/ 4389116 w 12191988"/>
              <a:gd name="connsiteY53" fmla="*/ 4804410 h 5048250"/>
              <a:gd name="connsiteX54" fmla="*/ 4145279 w 12191988"/>
              <a:gd name="connsiteY54" fmla="*/ 5048250 h 5048250"/>
              <a:gd name="connsiteX55" fmla="*/ 3920601 w 12191988"/>
              <a:gd name="connsiteY55" fmla="*/ 4899324 h 5048250"/>
              <a:gd name="connsiteX56" fmla="*/ 3901439 w 12191988"/>
              <a:gd name="connsiteY56" fmla="*/ 4804411 h 5048250"/>
              <a:gd name="connsiteX57" fmla="*/ 3901436 w 12191988"/>
              <a:gd name="connsiteY57" fmla="*/ 4804429 h 5048250"/>
              <a:gd name="connsiteX58" fmla="*/ 3901436 w 12191988"/>
              <a:gd name="connsiteY58" fmla="*/ 4501515 h 5048250"/>
              <a:gd name="connsiteX59" fmla="*/ 3657596 w 12191988"/>
              <a:gd name="connsiteY59" fmla="*/ 4257675 h 5048250"/>
              <a:gd name="connsiteX60" fmla="*/ 3413756 w 12191988"/>
              <a:gd name="connsiteY60" fmla="*/ 4501515 h 5048250"/>
              <a:gd name="connsiteX61" fmla="*/ 3413756 w 12191988"/>
              <a:gd name="connsiteY61" fmla="*/ 4804430 h 5048250"/>
              <a:gd name="connsiteX62" fmla="*/ 3394599 w 12191988"/>
              <a:gd name="connsiteY62" fmla="*/ 4899324 h 5048250"/>
              <a:gd name="connsiteX63" fmla="*/ 3169919 w 12191988"/>
              <a:gd name="connsiteY63" fmla="*/ 5048250 h 5048250"/>
              <a:gd name="connsiteX64" fmla="*/ 2945242 w 12191988"/>
              <a:gd name="connsiteY64" fmla="*/ 4899324 h 5048250"/>
              <a:gd name="connsiteX65" fmla="*/ 2926081 w 12191988"/>
              <a:gd name="connsiteY65" fmla="*/ 4804411 h 5048250"/>
              <a:gd name="connsiteX66" fmla="*/ 2926076 w 12191988"/>
              <a:gd name="connsiteY66" fmla="*/ 4804434 h 5048250"/>
              <a:gd name="connsiteX67" fmla="*/ 2926076 w 12191988"/>
              <a:gd name="connsiteY67" fmla="*/ 3691892 h 5048250"/>
              <a:gd name="connsiteX68" fmla="*/ 2682236 w 12191988"/>
              <a:gd name="connsiteY68" fmla="*/ 3448051 h 5048250"/>
              <a:gd name="connsiteX69" fmla="*/ 2438396 w 12191988"/>
              <a:gd name="connsiteY69" fmla="*/ 3691892 h 5048250"/>
              <a:gd name="connsiteX70" fmla="*/ 2438396 w 12191988"/>
              <a:gd name="connsiteY70" fmla="*/ 4804433 h 5048250"/>
              <a:gd name="connsiteX71" fmla="*/ 2419239 w 12191988"/>
              <a:gd name="connsiteY71" fmla="*/ 4899324 h 5048250"/>
              <a:gd name="connsiteX72" fmla="*/ 2194561 w 12191988"/>
              <a:gd name="connsiteY72" fmla="*/ 5048250 h 5048250"/>
              <a:gd name="connsiteX73" fmla="*/ 1969881 w 12191988"/>
              <a:gd name="connsiteY73" fmla="*/ 4899324 h 5048250"/>
              <a:gd name="connsiteX74" fmla="*/ 1950719 w 12191988"/>
              <a:gd name="connsiteY74" fmla="*/ 4804411 h 5048250"/>
              <a:gd name="connsiteX75" fmla="*/ 1950716 w 12191988"/>
              <a:gd name="connsiteY75" fmla="*/ 4804427 h 5048250"/>
              <a:gd name="connsiteX76" fmla="*/ 1950716 w 12191988"/>
              <a:gd name="connsiteY76" fmla="*/ 4330065 h 5048250"/>
              <a:gd name="connsiteX77" fmla="*/ 1706876 w 12191988"/>
              <a:gd name="connsiteY77" fmla="*/ 4086227 h 5048250"/>
              <a:gd name="connsiteX78" fmla="*/ 1463036 w 12191988"/>
              <a:gd name="connsiteY78" fmla="*/ 4330065 h 5048250"/>
              <a:gd name="connsiteX79" fmla="*/ 1463036 w 12191988"/>
              <a:gd name="connsiteY79" fmla="*/ 4804428 h 5048250"/>
              <a:gd name="connsiteX80" fmla="*/ 1443877 w 12191988"/>
              <a:gd name="connsiteY80" fmla="*/ 4899324 h 5048250"/>
              <a:gd name="connsiteX81" fmla="*/ 1219200 w 12191988"/>
              <a:gd name="connsiteY81" fmla="*/ 5048250 h 5048250"/>
              <a:gd name="connsiteX82" fmla="*/ 994522 w 12191988"/>
              <a:gd name="connsiteY82" fmla="*/ 4899324 h 5048250"/>
              <a:gd name="connsiteX83" fmla="*/ 975360 w 12191988"/>
              <a:gd name="connsiteY83" fmla="*/ 4804411 h 5048250"/>
              <a:gd name="connsiteX84" fmla="*/ 975356 w 12191988"/>
              <a:gd name="connsiteY84" fmla="*/ 4804431 h 5048250"/>
              <a:gd name="connsiteX85" fmla="*/ 975356 w 12191988"/>
              <a:gd name="connsiteY85" fmla="*/ 3920492 h 5048250"/>
              <a:gd name="connsiteX86" fmla="*/ 731516 w 12191988"/>
              <a:gd name="connsiteY86" fmla="*/ 3676652 h 5048250"/>
              <a:gd name="connsiteX87" fmla="*/ 487676 w 12191988"/>
              <a:gd name="connsiteY87" fmla="*/ 3920492 h 5048250"/>
              <a:gd name="connsiteX88" fmla="*/ 487676 w 12191988"/>
              <a:gd name="connsiteY88" fmla="*/ 4804431 h 5048250"/>
              <a:gd name="connsiteX89" fmla="*/ 468518 w 12191988"/>
              <a:gd name="connsiteY89" fmla="*/ 4899324 h 5048250"/>
              <a:gd name="connsiteX90" fmla="*/ 243840 w 12191988"/>
              <a:gd name="connsiteY90" fmla="*/ 5048250 h 5048250"/>
              <a:gd name="connsiteX91" fmla="*/ 0 w 12191988"/>
              <a:gd name="connsiteY91" fmla="*/ 4804410 h 504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88" h="5048250">
                <a:moveTo>
                  <a:pt x="0" y="0"/>
                </a:moveTo>
                <a:lnTo>
                  <a:pt x="12191988" y="0"/>
                </a:lnTo>
                <a:lnTo>
                  <a:pt x="12191988" y="4804440"/>
                </a:lnTo>
                <a:lnTo>
                  <a:pt x="12172832" y="4899324"/>
                </a:lnTo>
                <a:cubicBezTo>
                  <a:pt x="12135815" y="4986842"/>
                  <a:pt x="12049156" y="5048250"/>
                  <a:pt x="11948154" y="5048250"/>
                </a:cubicBezTo>
                <a:cubicBezTo>
                  <a:pt x="11813485" y="5048250"/>
                  <a:pt x="11704314" y="4939079"/>
                  <a:pt x="11704314" y="4804410"/>
                </a:cubicBezTo>
                <a:lnTo>
                  <a:pt x="11704314" y="4072890"/>
                </a:lnTo>
                <a:cubicBezTo>
                  <a:pt x="11704314" y="3938221"/>
                  <a:pt x="11595143" y="3829050"/>
                  <a:pt x="11460474" y="3829050"/>
                </a:cubicBezTo>
                <a:cubicBezTo>
                  <a:pt x="11325805" y="3829050"/>
                  <a:pt x="11216634" y="3938221"/>
                  <a:pt x="11216634" y="4072890"/>
                </a:cubicBezTo>
                <a:lnTo>
                  <a:pt x="11216634" y="4804410"/>
                </a:lnTo>
                <a:cubicBezTo>
                  <a:pt x="11216634" y="4939079"/>
                  <a:pt x="11107463" y="5048250"/>
                  <a:pt x="10972794" y="5048250"/>
                </a:cubicBezTo>
                <a:cubicBezTo>
                  <a:pt x="10838125" y="5048250"/>
                  <a:pt x="10728954" y="4939079"/>
                  <a:pt x="10728954" y="4804410"/>
                </a:cubicBezTo>
                <a:lnTo>
                  <a:pt x="10728954" y="3139440"/>
                </a:lnTo>
                <a:cubicBezTo>
                  <a:pt x="10728954" y="3004772"/>
                  <a:pt x="10619783" y="2895600"/>
                  <a:pt x="10485114" y="2895600"/>
                </a:cubicBezTo>
                <a:cubicBezTo>
                  <a:pt x="10350445" y="2895600"/>
                  <a:pt x="10241274" y="3004772"/>
                  <a:pt x="10241274" y="3139440"/>
                </a:cubicBezTo>
                <a:lnTo>
                  <a:pt x="10241274" y="4804410"/>
                </a:lnTo>
                <a:cubicBezTo>
                  <a:pt x="10241274" y="4939079"/>
                  <a:pt x="10132103" y="5048250"/>
                  <a:pt x="9997434" y="5048250"/>
                </a:cubicBezTo>
                <a:cubicBezTo>
                  <a:pt x="9862765" y="5048250"/>
                  <a:pt x="9753594" y="4939079"/>
                  <a:pt x="9753594" y="4804410"/>
                </a:cubicBezTo>
                <a:lnTo>
                  <a:pt x="9753594" y="4330065"/>
                </a:lnTo>
                <a:cubicBezTo>
                  <a:pt x="9753594" y="4195396"/>
                  <a:pt x="9644423" y="4086225"/>
                  <a:pt x="9509754" y="4086225"/>
                </a:cubicBezTo>
                <a:cubicBezTo>
                  <a:pt x="9375085" y="4086225"/>
                  <a:pt x="9265914" y="4195396"/>
                  <a:pt x="9265914" y="4330065"/>
                </a:cubicBezTo>
                <a:lnTo>
                  <a:pt x="9265914" y="4804410"/>
                </a:lnTo>
                <a:cubicBezTo>
                  <a:pt x="9265914" y="4939079"/>
                  <a:pt x="9156743" y="5048250"/>
                  <a:pt x="9022074" y="5048250"/>
                </a:cubicBezTo>
                <a:cubicBezTo>
                  <a:pt x="8887405" y="5048250"/>
                  <a:pt x="8778234" y="4939079"/>
                  <a:pt x="8778234" y="4804410"/>
                </a:cubicBezTo>
                <a:lnTo>
                  <a:pt x="8778234" y="3920491"/>
                </a:lnTo>
                <a:cubicBezTo>
                  <a:pt x="8778234" y="3785822"/>
                  <a:pt x="8669063" y="3676651"/>
                  <a:pt x="8534394" y="3676651"/>
                </a:cubicBezTo>
                <a:cubicBezTo>
                  <a:pt x="8399725" y="3676651"/>
                  <a:pt x="8290554" y="3785822"/>
                  <a:pt x="8290554" y="3920491"/>
                </a:cubicBezTo>
                <a:lnTo>
                  <a:pt x="8290554" y="4804410"/>
                </a:lnTo>
                <a:cubicBezTo>
                  <a:pt x="8290554" y="4939079"/>
                  <a:pt x="8181383" y="5048250"/>
                  <a:pt x="8046714" y="5048250"/>
                </a:cubicBezTo>
                <a:cubicBezTo>
                  <a:pt x="7912045" y="5048250"/>
                  <a:pt x="7802874" y="4939079"/>
                  <a:pt x="7802874" y="4804410"/>
                </a:cubicBezTo>
                <a:lnTo>
                  <a:pt x="7802874" y="4606290"/>
                </a:lnTo>
                <a:cubicBezTo>
                  <a:pt x="7802874" y="4471621"/>
                  <a:pt x="7693703" y="4362450"/>
                  <a:pt x="7559034" y="4362450"/>
                </a:cubicBezTo>
                <a:cubicBezTo>
                  <a:pt x="7424365" y="4362450"/>
                  <a:pt x="7315194" y="4471621"/>
                  <a:pt x="7315194" y="4606290"/>
                </a:cubicBezTo>
                <a:lnTo>
                  <a:pt x="7315194" y="4804410"/>
                </a:lnTo>
                <a:cubicBezTo>
                  <a:pt x="7315194" y="4939079"/>
                  <a:pt x="7206023" y="5048250"/>
                  <a:pt x="7071354" y="5048250"/>
                </a:cubicBezTo>
                <a:cubicBezTo>
                  <a:pt x="6936685" y="5048250"/>
                  <a:pt x="6827514" y="4939079"/>
                  <a:pt x="6827514" y="4804410"/>
                </a:cubicBezTo>
                <a:lnTo>
                  <a:pt x="6827514" y="3444241"/>
                </a:lnTo>
                <a:cubicBezTo>
                  <a:pt x="6827514" y="3309572"/>
                  <a:pt x="6718343" y="3200401"/>
                  <a:pt x="6583674" y="3200401"/>
                </a:cubicBezTo>
                <a:cubicBezTo>
                  <a:pt x="6449005" y="3200401"/>
                  <a:pt x="6339834" y="3309572"/>
                  <a:pt x="6339834" y="3444241"/>
                </a:cubicBezTo>
                <a:lnTo>
                  <a:pt x="6339834" y="4804410"/>
                </a:lnTo>
                <a:cubicBezTo>
                  <a:pt x="6339834" y="4939079"/>
                  <a:pt x="6230663" y="5048250"/>
                  <a:pt x="6095995" y="5048250"/>
                </a:cubicBezTo>
                <a:cubicBezTo>
                  <a:pt x="5961326" y="5048250"/>
                  <a:pt x="5852155" y="4939079"/>
                  <a:pt x="5852155" y="4804410"/>
                </a:cubicBezTo>
                <a:lnTo>
                  <a:pt x="5852155" y="4072891"/>
                </a:lnTo>
                <a:cubicBezTo>
                  <a:pt x="5852155" y="3938223"/>
                  <a:pt x="5742984" y="3829051"/>
                  <a:pt x="5608315" y="3829051"/>
                </a:cubicBezTo>
                <a:cubicBezTo>
                  <a:pt x="5473647" y="3829051"/>
                  <a:pt x="5364474" y="3938223"/>
                  <a:pt x="5364474" y="4072891"/>
                </a:cubicBezTo>
                <a:lnTo>
                  <a:pt x="5364474" y="4804425"/>
                </a:lnTo>
                <a:lnTo>
                  <a:pt x="5345317" y="4899324"/>
                </a:lnTo>
                <a:cubicBezTo>
                  <a:pt x="5308299" y="4986842"/>
                  <a:pt x="5221639" y="5048250"/>
                  <a:pt x="5120638" y="5048250"/>
                </a:cubicBezTo>
                <a:cubicBezTo>
                  <a:pt x="4985968" y="5048250"/>
                  <a:pt x="4876797" y="4939079"/>
                  <a:pt x="4876797" y="4804410"/>
                </a:cubicBezTo>
                <a:lnTo>
                  <a:pt x="4876795" y="4804421"/>
                </a:lnTo>
                <a:lnTo>
                  <a:pt x="4876795" y="3139442"/>
                </a:lnTo>
                <a:cubicBezTo>
                  <a:pt x="4876795" y="3004773"/>
                  <a:pt x="4767624" y="2895602"/>
                  <a:pt x="4632956" y="2895602"/>
                </a:cubicBezTo>
                <a:cubicBezTo>
                  <a:pt x="4498286" y="2895602"/>
                  <a:pt x="4389116" y="3004773"/>
                  <a:pt x="4389116" y="3139442"/>
                </a:cubicBezTo>
                <a:lnTo>
                  <a:pt x="4389116" y="4804410"/>
                </a:lnTo>
                <a:cubicBezTo>
                  <a:pt x="4389116" y="4939079"/>
                  <a:pt x="4279945" y="5048250"/>
                  <a:pt x="4145279" y="5048250"/>
                </a:cubicBezTo>
                <a:cubicBezTo>
                  <a:pt x="4044277" y="5048250"/>
                  <a:pt x="3957618" y="4986842"/>
                  <a:pt x="3920601" y="4899324"/>
                </a:cubicBezTo>
                <a:lnTo>
                  <a:pt x="3901439" y="4804411"/>
                </a:lnTo>
                <a:lnTo>
                  <a:pt x="3901436" y="4804429"/>
                </a:lnTo>
                <a:lnTo>
                  <a:pt x="3901436" y="4501515"/>
                </a:lnTo>
                <a:cubicBezTo>
                  <a:pt x="3901436" y="4366846"/>
                  <a:pt x="3792264" y="4257675"/>
                  <a:pt x="3657596" y="4257675"/>
                </a:cubicBezTo>
                <a:cubicBezTo>
                  <a:pt x="3522927" y="4257675"/>
                  <a:pt x="3413756" y="4366846"/>
                  <a:pt x="3413756" y="4501515"/>
                </a:cubicBezTo>
                <a:lnTo>
                  <a:pt x="3413756" y="4804430"/>
                </a:lnTo>
                <a:lnTo>
                  <a:pt x="3394599" y="4899324"/>
                </a:lnTo>
                <a:cubicBezTo>
                  <a:pt x="3357581" y="4986842"/>
                  <a:pt x="3270922" y="5048250"/>
                  <a:pt x="3169919" y="5048250"/>
                </a:cubicBezTo>
                <a:cubicBezTo>
                  <a:pt x="3068918" y="5048250"/>
                  <a:pt x="2982258" y="4986842"/>
                  <a:pt x="2945242" y="4899324"/>
                </a:cubicBezTo>
                <a:lnTo>
                  <a:pt x="2926081" y="4804411"/>
                </a:lnTo>
                <a:lnTo>
                  <a:pt x="2926076" y="4804434"/>
                </a:lnTo>
                <a:lnTo>
                  <a:pt x="2926076" y="3691892"/>
                </a:lnTo>
                <a:cubicBezTo>
                  <a:pt x="2926076" y="3557222"/>
                  <a:pt x="2816905" y="3448051"/>
                  <a:pt x="2682236" y="3448051"/>
                </a:cubicBezTo>
                <a:cubicBezTo>
                  <a:pt x="2547567" y="3448051"/>
                  <a:pt x="2438396" y="3557222"/>
                  <a:pt x="2438396" y="3691892"/>
                </a:cubicBezTo>
                <a:lnTo>
                  <a:pt x="2438396" y="4804433"/>
                </a:lnTo>
                <a:lnTo>
                  <a:pt x="2419239" y="4899324"/>
                </a:lnTo>
                <a:cubicBezTo>
                  <a:pt x="2382222" y="4986842"/>
                  <a:pt x="2295563" y="5048250"/>
                  <a:pt x="2194561" y="5048250"/>
                </a:cubicBezTo>
                <a:cubicBezTo>
                  <a:pt x="2093557" y="5048250"/>
                  <a:pt x="2006898" y="4986842"/>
                  <a:pt x="1969881" y="4899324"/>
                </a:cubicBezTo>
                <a:lnTo>
                  <a:pt x="1950719" y="4804411"/>
                </a:lnTo>
                <a:lnTo>
                  <a:pt x="1950716" y="4804427"/>
                </a:lnTo>
                <a:lnTo>
                  <a:pt x="1950716" y="4330065"/>
                </a:lnTo>
                <a:cubicBezTo>
                  <a:pt x="1950716" y="4195396"/>
                  <a:pt x="1841545" y="4086227"/>
                  <a:pt x="1706876" y="4086227"/>
                </a:cubicBezTo>
                <a:cubicBezTo>
                  <a:pt x="1572207" y="4086227"/>
                  <a:pt x="1463036" y="4195396"/>
                  <a:pt x="1463036" y="4330065"/>
                </a:cubicBezTo>
                <a:lnTo>
                  <a:pt x="1463036" y="4804428"/>
                </a:lnTo>
                <a:lnTo>
                  <a:pt x="1443877" y="4899324"/>
                </a:lnTo>
                <a:cubicBezTo>
                  <a:pt x="1406860" y="4986842"/>
                  <a:pt x="1320201" y="5048250"/>
                  <a:pt x="1219200" y="5048250"/>
                </a:cubicBezTo>
                <a:cubicBezTo>
                  <a:pt x="1118198" y="5048250"/>
                  <a:pt x="1031539" y="4986842"/>
                  <a:pt x="994522" y="4899324"/>
                </a:cubicBezTo>
                <a:lnTo>
                  <a:pt x="975360" y="4804411"/>
                </a:lnTo>
                <a:lnTo>
                  <a:pt x="975356" y="4804431"/>
                </a:lnTo>
                <a:lnTo>
                  <a:pt x="975356" y="3920492"/>
                </a:lnTo>
                <a:cubicBezTo>
                  <a:pt x="975356" y="3785823"/>
                  <a:pt x="866185" y="3676652"/>
                  <a:pt x="731516" y="3676652"/>
                </a:cubicBezTo>
                <a:cubicBezTo>
                  <a:pt x="596847" y="3676652"/>
                  <a:pt x="487676" y="3785823"/>
                  <a:pt x="487676" y="3920492"/>
                </a:cubicBezTo>
                <a:lnTo>
                  <a:pt x="487676" y="4804431"/>
                </a:lnTo>
                <a:lnTo>
                  <a:pt x="468518" y="4899324"/>
                </a:lnTo>
                <a:cubicBezTo>
                  <a:pt x="431501" y="4986842"/>
                  <a:pt x="344842" y="5048250"/>
                  <a:pt x="243840" y="5048250"/>
                </a:cubicBezTo>
                <a:cubicBezTo>
                  <a:pt x="109171" y="5048250"/>
                  <a:pt x="0" y="4939079"/>
                  <a:pt x="0" y="4804410"/>
                </a:cubicBezTo>
                <a:close/>
              </a:path>
            </a:pathLst>
          </a:custGeom>
        </p:spPr>
        <p:txBody>
          <a:bodyPr wrap="square">
            <a:noAutofit/>
          </a:bodyPr>
          <a:lstStyle>
            <a:lvl1pPr>
              <a:defRPr lang="en-US" sz="1800" dirty="0">
                <a:solidFill>
                  <a:schemeClr val="bg1">
                    <a:lumMod val="65000"/>
                  </a:schemeClr>
                </a:solidFill>
              </a:defRPr>
            </a:lvl1pPr>
          </a:lstStyle>
          <a:p>
            <a:pPr marL="0" marR="0" lvl="0" indent="0" fontAlgn="auto">
              <a:spcAft>
                <a:spcPts val="0"/>
              </a:spcAft>
              <a:buClrTx/>
              <a:buSzTx/>
              <a:buNone/>
              <a:tabLst/>
            </a:pPr>
            <a:r>
              <a:rPr lang="en-US" dirty="0"/>
              <a:t>Picture</a:t>
            </a:r>
          </a:p>
          <a:p>
            <a:pPr marL="0" marR="0" lvl="0" indent="0" fontAlgn="auto">
              <a:spcAft>
                <a:spcPts val="0"/>
              </a:spcAft>
              <a:buClrTx/>
              <a:buSzTx/>
              <a:buNone/>
              <a:tabLst/>
            </a:pPr>
            <a:endParaRPr lang="en-US" dirty="0"/>
          </a:p>
        </p:txBody>
      </p:sp>
    </p:spTree>
    <p:extLst>
      <p:ext uri="{BB962C8B-B14F-4D97-AF65-F5344CB8AC3E}">
        <p14:creationId xmlns:p14="http://schemas.microsoft.com/office/powerpoint/2010/main" val="1411643035"/>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D097A93-D44C-4EAF-832C-4585D1A8F062}"/>
              </a:ext>
            </a:extLst>
          </p:cNvPr>
          <p:cNvSpPr>
            <a:spLocks noGrp="1"/>
          </p:cNvSpPr>
          <p:nvPr>
            <p:ph type="pic" sz="quarter" idx="12"/>
          </p:nvPr>
        </p:nvSpPr>
        <p:spPr>
          <a:xfrm>
            <a:off x="680447" y="0"/>
            <a:ext cx="11511553" cy="6858000"/>
          </a:xfrm>
          <a:custGeom>
            <a:avLst/>
            <a:gdLst>
              <a:gd name="connsiteX0" fmla="*/ 9879368 w 18390006"/>
              <a:gd name="connsiteY0" fmla="*/ 0 h 10972800"/>
              <a:gd name="connsiteX1" fmla="*/ 18390006 w 18390006"/>
              <a:gd name="connsiteY1" fmla="*/ 0 h 10972800"/>
              <a:gd name="connsiteX2" fmla="*/ 18390006 w 18390006"/>
              <a:gd name="connsiteY2" fmla="*/ 4161297 h 10972800"/>
              <a:gd name="connsiteX3" fmla="*/ 18171882 w 18390006"/>
              <a:gd name="connsiteY3" fmla="*/ 4724328 h 10972800"/>
              <a:gd name="connsiteX4" fmla="*/ 15791118 w 18390006"/>
              <a:gd name="connsiteY4" fmla="*/ 8274951 h 10972800"/>
              <a:gd name="connsiteX5" fmla="*/ 11484821 w 18390006"/>
              <a:gd name="connsiteY5" fmla="*/ 10952758 h 10972800"/>
              <a:gd name="connsiteX6" fmla="*/ 11422433 w 18390006"/>
              <a:gd name="connsiteY6" fmla="*/ 10972800 h 10972800"/>
              <a:gd name="connsiteX7" fmla="*/ 0 w 18390006"/>
              <a:gd name="connsiteY7" fmla="*/ 10972800 h 10972800"/>
              <a:gd name="connsiteX8" fmla="*/ 410397 w 18390006"/>
              <a:gd name="connsiteY8" fmla="*/ 10921746 h 10972800"/>
              <a:gd name="connsiteX9" fmla="*/ 6635113 w 18390006"/>
              <a:gd name="connsiteY9" fmla="*/ 7779392 h 10972800"/>
              <a:gd name="connsiteX10" fmla="*/ 9869111 w 18390006"/>
              <a:gd name="connsiteY10" fmla="*/ 455451 h 109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0006" h="10972800">
                <a:moveTo>
                  <a:pt x="9879368" y="0"/>
                </a:moveTo>
                <a:lnTo>
                  <a:pt x="18390006" y="0"/>
                </a:lnTo>
                <a:lnTo>
                  <a:pt x="18390006" y="4161297"/>
                </a:lnTo>
                <a:lnTo>
                  <a:pt x="18171882" y="4724328"/>
                </a:lnTo>
                <a:cubicBezTo>
                  <a:pt x="17620864" y="6038293"/>
                  <a:pt x="16817038" y="7246671"/>
                  <a:pt x="15791118" y="8274951"/>
                </a:cubicBezTo>
                <a:cubicBezTo>
                  <a:pt x="14569783" y="9499096"/>
                  <a:pt x="13092489" y="10409066"/>
                  <a:pt x="11484821" y="10952758"/>
                </a:cubicBezTo>
                <a:lnTo>
                  <a:pt x="11422433" y="10972800"/>
                </a:lnTo>
                <a:lnTo>
                  <a:pt x="0" y="10972800"/>
                </a:lnTo>
                <a:lnTo>
                  <a:pt x="410397" y="10921746"/>
                </a:lnTo>
                <a:cubicBezTo>
                  <a:pt x="2754337" y="10571278"/>
                  <a:pt x="4940902" y="9477501"/>
                  <a:pt x="6635113" y="7779392"/>
                </a:cubicBezTo>
                <a:cubicBezTo>
                  <a:pt x="8589972" y="5820035"/>
                  <a:pt x="9738742" y="3207028"/>
                  <a:pt x="9869111" y="455451"/>
                </a:cubicBezTo>
                <a:close/>
              </a:path>
            </a:pathLst>
          </a:custGeom>
          <a:solidFill>
            <a:schemeClr val="bg1">
              <a:lumMod val="95000"/>
            </a:schemeClr>
          </a:solidFill>
          <a:effectLst/>
        </p:spPr>
        <p:txBody>
          <a:bodyPr wrap="square">
            <a:noAutofit/>
          </a:bodyPr>
          <a:lstStyle>
            <a:lvl1pPr>
              <a:defRPr sz="2250"/>
            </a:lvl1pPr>
          </a:lstStyle>
          <a:p>
            <a:endParaRPr lang="en-US" dirty="0"/>
          </a:p>
        </p:txBody>
      </p:sp>
    </p:spTree>
    <p:extLst>
      <p:ext uri="{BB962C8B-B14F-4D97-AF65-F5344CB8AC3E}">
        <p14:creationId xmlns:p14="http://schemas.microsoft.com/office/powerpoint/2010/main" val="1862717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1_Title Slide">
    <p:spTree>
      <p:nvGrpSpPr>
        <p:cNvPr id="1" name=""/>
        <p:cNvGrpSpPr/>
        <p:nvPr/>
      </p:nvGrpSpPr>
      <p:grpSpPr>
        <a:xfrm>
          <a:off x="0" y="0"/>
          <a:ext cx="0" cy="0"/>
          <a:chOff x="0" y="0"/>
          <a:chExt cx="0" cy="0"/>
        </a:xfrm>
      </p:grpSpPr>
      <p:sp>
        <p:nvSpPr>
          <p:cNvPr id="6" name="Picture Placeholder 12"/>
          <p:cNvSpPr>
            <a:spLocks noGrp="1"/>
          </p:cNvSpPr>
          <p:nvPr>
            <p:ph type="pic" sz="quarter" idx="12"/>
          </p:nvPr>
        </p:nvSpPr>
        <p:spPr>
          <a:xfrm>
            <a:off x="5532478" y="133909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7" name="Picture Placeholder 12"/>
          <p:cNvSpPr>
            <a:spLocks noGrp="1"/>
          </p:cNvSpPr>
          <p:nvPr>
            <p:ph type="pic" sz="quarter" idx="13"/>
          </p:nvPr>
        </p:nvSpPr>
        <p:spPr>
          <a:xfrm>
            <a:off x="5532478" y="249795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8" name="Picture Placeholder 12"/>
          <p:cNvSpPr>
            <a:spLocks noGrp="1"/>
          </p:cNvSpPr>
          <p:nvPr>
            <p:ph type="pic" sz="quarter" idx="14"/>
          </p:nvPr>
        </p:nvSpPr>
        <p:spPr>
          <a:xfrm>
            <a:off x="5532478" y="365682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9" name="Picture Placeholder 12"/>
          <p:cNvSpPr>
            <a:spLocks noGrp="1"/>
          </p:cNvSpPr>
          <p:nvPr>
            <p:ph type="pic" sz="quarter" idx="15"/>
          </p:nvPr>
        </p:nvSpPr>
        <p:spPr>
          <a:xfrm>
            <a:off x="5532478" y="481568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10" name="Rectangle 2"/>
          <p:cNvSpPr/>
          <p:nvPr userDrawn="1"/>
        </p:nvSpPr>
        <p:spPr>
          <a:xfrm>
            <a:off x="7666946" y="0"/>
            <a:ext cx="4525053" cy="6858000"/>
          </a:xfrm>
          <a:custGeom>
            <a:avLst/>
            <a:gdLst>
              <a:gd name="connsiteX0" fmla="*/ 0 w 2057400"/>
              <a:gd name="connsiteY0" fmla="*/ 0 h 6858000"/>
              <a:gd name="connsiteX1" fmla="*/ 2057400 w 2057400"/>
              <a:gd name="connsiteY1" fmla="*/ 0 h 6858000"/>
              <a:gd name="connsiteX2" fmla="*/ 2057400 w 2057400"/>
              <a:gd name="connsiteY2" fmla="*/ 6858000 h 6858000"/>
              <a:gd name="connsiteX3" fmla="*/ 0 w 2057400"/>
              <a:gd name="connsiteY3" fmla="*/ 6858000 h 6858000"/>
              <a:gd name="connsiteX4" fmla="*/ 0 w 2057400"/>
              <a:gd name="connsiteY4" fmla="*/ 0 h 6858000"/>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0420" h="6858000">
                <a:moveTo>
                  <a:pt x="2993020" y="0"/>
                </a:moveTo>
                <a:lnTo>
                  <a:pt x="5050420" y="0"/>
                </a:lnTo>
                <a:lnTo>
                  <a:pt x="5050420" y="6858000"/>
                </a:lnTo>
                <a:lnTo>
                  <a:pt x="0" y="6842435"/>
                </a:lnTo>
                <a:cubicBezTo>
                  <a:pt x="2664619" y="4446323"/>
                  <a:pt x="3099949" y="3057852"/>
                  <a:pt x="2993020" y="0"/>
                </a:cubicBezTo>
                <a:close/>
              </a:path>
            </a:pathLst>
          </a:custGeom>
          <a:gradFill>
            <a:gsLst>
              <a:gs pos="0">
                <a:schemeClr val="accent5"/>
              </a:gs>
              <a:gs pos="100000">
                <a:schemeClr val="accent5">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a:p>
        </p:txBody>
      </p:sp>
    </p:spTree>
    <p:extLst>
      <p:ext uri="{BB962C8B-B14F-4D97-AF65-F5344CB8AC3E}">
        <p14:creationId xmlns:p14="http://schemas.microsoft.com/office/powerpoint/2010/main" val="3072968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1"/>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3" y="2702874"/>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30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30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30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30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30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30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30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30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30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30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30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3000"/>
            </a:p>
          </p:txBody>
        </p:sp>
      </p:grpSp>
    </p:spTree>
    <p:extLst>
      <p:ext uri="{BB962C8B-B14F-4D97-AF65-F5344CB8AC3E}">
        <p14:creationId xmlns:p14="http://schemas.microsoft.com/office/powerpoint/2010/main" val="5806684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4">
            <a:extLst>
              <a:ext uri="{FF2B5EF4-FFF2-40B4-BE49-F238E27FC236}">
                <a16:creationId xmlns:a16="http://schemas.microsoft.com/office/drawing/2014/main" id="{80AAE473-9528-4C6D-AB61-94A5B1ABF4C3}"/>
              </a:ext>
            </a:extLst>
          </p:cNvPr>
          <p:cNvSpPr>
            <a:spLocks noGrp="1"/>
          </p:cNvSpPr>
          <p:nvPr>
            <p:ph sz="quarter" idx="17"/>
          </p:nvPr>
        </p:nvSpPr>
        <p:spPr>
          <a:xfrm>
            <a:off x="42926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F1C9EB61-FB61-4542-A953-091946BD18DE}"/>
              </a:ext>
            </a:extLst>
          </p:cNvPr>
          <p:cNvSpPr>
            <a:spLocks noGrp="1"/>
          </p:cNvSpPr>
          <p:nvPr>
            <p:ph sz="quarter" idx="18"/>
          </p:nvPr>
        </p:nvSpPr>
        <p:spPr>
          <a:xfrm>
            <a:off x="8167688"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701896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1"/>
            <a:ext cx="12191998" cy="6857999"/>
          </a:xfrm>
          <a:prstGeom prst="rect">
            <a:avLst/>
          </a:prstGeom>
        </p:spPr>
      </p:pic>
      <p:sp>
        <p:nvSpPr>
          <p:cNvPr id="9" name="Title 1"/>
          <p:cNvSpPr>
            <a:spLocks noGrp="1"/>
          </p:cNvSpPr>
          <p:nvPr>
            <p:ph type="title" hasCustomPrompt="1"/>
          </p:nvPr>
        </p:nvSpPr>
        <p:spPr bwMode="white">
          <a:xfrm>
            <a:off x="584200" y="2918224"/>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spTree>
    <p:extLst>
      <p:ext uri="{BB962C8B-B14F-4D97-AF65-F5344CB8AC3E}">
        <p14:creationId xmlns:p14="http://schemas.microsoft.com/office/powerpoint/2010/main" val="58523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78713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4434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762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140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885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634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467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4908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9341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23" name="Content Placeholder 4">
            <a:extLst>
              <a:ext uri="{FF2B5EF4-FFF2-40B4-BE49-F238E27FC236}">
                <a16:creationId xmlns:a16="http://schemas.microsoft.com/office/drawing/2014/main" id="{51F09C67-6E98-46D8-9A10-0C1C32D11101}"/>
              </a:ext>
            </a:extLst>
          </p:cNvPr>
          <p:cNvSpPr>
            <a:spLocks noGrp="1"/>
          </p:cNvSpPr>
          <p:nvPr>
            <p:ph sz="quarter" idx="23"/>
          </p:nvPr>
        </p:nvSpPr>
        <p:spPr>
          <a:xfrm>
            <a:off x="406400"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4">
            <a:extLst>
              <a:ext uri="{FF2B5EF4-FFF2-40B4-BE49-F238E27FC236}">
                <a16:creationId xmlns:a16="http://schemas.microsoft.com/office/drawing/2014/main" id="{E69D658C-67AC-470E-820B-F1A2D4436FC5}"/>
              </a:ext>
            </a:extLst>
          </p:cNvPr>
          <p:cNvSpPr>
            <a:spLocks noGrp="1"/>
          </p:cNvSpPr>
          <p:nvPr>
            <p:ph sz="quarter" idx="17"/>
          </p:nvPr>
        </p:nvSpPr>
        <p:spPr>
          <a:xfrm>
            <a:off x="4281487"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4">
            <a:extLst>
              <a:ext uri="{FF2B5EF4-FFF2-40B4-BE49-F238E27FC236}">
                <a16:creationId xmlns:a16="http://schemas.microsoft.com/office/drawing/2014/main" id="{EB06BE51-A065-45E8-8427-69F1FEF04B92}"/>
              </a:ext>
            </a:extLst>
          </p:cNvPr>
          <p:cNvSpPr>
            <a:spLocks noGrp="1"/>
          </p:cNvSpPr>
          <p:nvPr>
            <p:ph sz="quarter" idx="24"/>
          </p:nvPr>
        </p:nvSpPr>
        <p:spPr>
          <a:xfrm>
            <a:off x="8167688"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307E467A-78ED-4734-AE39-EF9C06690405}"/>
              </a:ext>
            </a:extLst>
          </p:cNvPr>
          <p:cNvSpPr>
            <a:spLocks noGrp="1"/>
          </p:cNvSpPr>
          <p:nvPr>
            <p:ph type="body" sz="quarter" idx="25"/>
          </p:nvPr>
        </p:nvSpPr>
        <p:spPr>
          <a:xfrm>
            <a:off x="406400"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7" name="Text Placeholder 5">
            <a:extLst>
              <a:ext uri="{FF2B5EF4-FFF2-40B4-BE49-F238E27FC236}">
                <a16:creationId xmlns:a16="http://schemas.microsoft.com/office/drawing/2014/main" id="{569139CE-8E75-4872-B6CF-4C99B6F43512}"/>
              </a:ext>
            </a:extLst>
          </p:cNvPr>
          <p:cNvSpPr>
            <a:spLocks noGrp="1"/>
          </p:cNvSpPr>
          <p:nvPr>
            <p:ph type="body" sz="quarter" idx="26"/>
          </p:nvPr>
        </p:nvSpPr>
        <p:spPr>
          <a:xfrm>
            <a:off x="4281487"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8" name="Text Placeholder 5">
            <a:extLst>
              <a:ext uri="{FF2B5EF4-FFF2-40B4-BE49-F238E27FC236}">
                <a16:creationId xmlns:a16="http://schemas.microsoft.com/office/drawing/2014/main" id="{85E60B44-9F4A-4040-9D32-97D2A3BE6FA0}"/>
              </a:ext>
            </a:extLst>
          </p:cNvPr>
          <p:cNvSpPr>
            <a:spLocks noGrp="1"/>
          </p:cNvSpPr>
          <p:nvPr>
            <p:ph type="body" sz="quarter" idx="27"/>
          </p:nvPr>
        </p:nvSpPr>
        <p:spPr>
          <a:xfrm>
            <a:off x="8167688"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Tree>
    <p:extLst>
      <p:ext uri="{BB962C8B-B14F-4D97-AF65-F5344CB8AC3E}">
        <p14:creationId xmlns:p14="http://schemas.microsoft.com/office/powerpoint/2010/main" val="302723256"/>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278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517885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5"/>
            <a:ext cx="11018520" cy="430887"/>
          </a:xfrm>
        </p:spPr>
        <p:txBody>
          <a:bodyPr anchor="t"/>
          <a:lstStyle>
            <a:lvl1pPr marL="12700" indent="0" algn="l">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3824874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481341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5"/>
            <a:ext cx="11018520" cy="430887"/>
          </a:xfrm>
        </p:spPr>
        <p:txBody>
          <a:bodyPr anchor="t"/>
          <a:lstStyle>
            <a:lvl1pPr marL="12700" indent="0" algn="ctr">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05528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09830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85773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4074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4704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9672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s - Image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0" y="1449388"/>
            <a:ext cx="5964238"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Tree>
    <p:extLst>
      <p:ext uri="{BB962C8B-B14F-4D97-AF65-F5344CB8AC3E}">
        <p14:creationId xmlns:p14="http://schemas.microsoft.com/office/powerpoint/2010/main" val="378241264"/>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66400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4959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31163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82990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857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0705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6385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249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1094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543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 Image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6227764" y="1449388"/>
            <a:ext cx="5964236"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3213530"/>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905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251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009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40731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771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4092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7527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141485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13929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3217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Gray">
    <p:bg>
      <p:bgRef idx="1002">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440C5E-A2C8-4AD1-8AA7-14355768CED1}"/>
              </a:ext>
            </a:extLst>
          </p:cNvPr>
          <p:cNvSpPr/>
          <p:nvPr/>
        </p:nvSpPr>
        <p:spPr>
          <a:xfrm>
            <a:off x="0" y="0"/>
            <a:ext cx="12192000"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Tekstvak 10">
            <a:extLst>
              <a:ext uri="{FF2B5EF4-FFF2-40B4-BE49-F238E27FC236}">
                <a16:creationId xmlns:a16="http://schemas.microsoft.com/office/drawing/2014/main" id="{11723781-93E2-4A33-819E-EA19E85CA0CE}"/>
              </a:ext>
            </a:extLst>
          </p:cNvPr>
          <p:cNvSpPr txBox="1"/>
          <p:nvPr/>
        </p:nvSpPr>
        <p:spPr>
          <a:xfrm>
            <a:off x="407989" y="5627454"/>
            <a:ext cx="11376024" cy="538609"/>
          </a:xfrm>
          <a:prstGeom prst="rect">
            <a:avLst/>
          </a:prstGeom>
          <a:noFill/>
        </p:spPr>
        <p:txBody>
          <a:bodyPr wrap="square" rtlCol="0">
            <a:spAutoFit/>
          </a:bodyPr>
          <a:lstStyle/>
          <a:p>
            <a:pPr lvl="0" algn="ctr">
              <a:spcBef>
                <a:spcPts val="600"/>
              </a:spcBef>
            </a:pPr>
            <a:r>
              <a:rPr lang="en-US" sz="1200">
                <a:solidFill>
                  <a:schemeClr val="tx1"/>
                </a:solidFill>
                <a:latin typeface="+mn-lt"/>
              </a:rPr>
              <a:t>www.andersonmacgyver.com </a:t>
            </a:r>
            <a:r>
              <a:rPr lang="en-US" sz="1200">
                <a:solidFill>
                  <a:schemeClr val="accent1"/>
                </a:solidFill>
                <a:latin typeface="+mn-lt"/>
              </a:rPr>
              <a:t>|</a:t>
            </a:r>
            <a:r>
              <a:rPr lang="en-US" sz="1200">
                <a:solidFill>
                  <a:schemeClr val="tx1"/>
                </a:solidFill>
                <a:latin typeface="+mn-lt"/>
              </a:rPr>
              <a:t> info@andersonmacgyver.com</a:t>
            </a:r>
          </a:p>
          <a:p>
            <a:pPr lvl="0" algn="ctr">
              <a:spcBef>
                <a:spcPts val="600"/>
              </a:spcBef>
            </a:pPr>
            <a:r>
              <a:rPr lang="en-US" sz="1200">
                <a:solidFill>
                  <a:schemeClr val="tx1"/>
                </a:solidFill>
                <a:latin typeface="+mn-lt"/>
              </a:rPr>
              <a:t> https://www.linkedin.com/company/anderson-macgyver       https://twitter.com/andersonmcgyver</a:t>
            </a:r>
          </a:p>
        </p:txBody>
      </p:sp>
      <p:pic>
        <p:nvPicPr>
          <p:cNvPr id="19" name="Afbeelding 15">
            <a:extLst>
              <a:ext uri="{FF2B5EF4-FFF2-40B4-BE49-F238E27FC236}">
                <a16:creationId xmlns:a16="http://schemas.microsoft.com/office/drawing/2014/main" id="{DD50796B-2D1B-4124-A9DC-0D6B36799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6275" y="5957414"/>
            <a:ext cx="211725" cy="180000"/>
          </a:xfrm>
          <a:prstGeom prst="rect">
            <a:avLst/>
          </a:prstGeom>
        </p:spPr>
      </p:pic>
      <p:pic>
        <p:nvPicPr>
          <p:cNvPr id="20" name="Afbeelding 16">
            <a:extLst>
              <a:ext uri="{FF2B5EF4-FFF2-40B4-BE49-F238E27FC236}">
                <a16:creationId xmlns:a16="http://schemas.microsoft.com/office/drawing/2014/main" id="{046B603D-4901-4FAC-8D31-75D170C136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5234" y="5930708"/>
            <a:ext cx="178131" cy="178131"/>
          </a:xfrm>
          <a:prstGeom prst="rect">
            <a:avLst/>
          </a:prstGeom>
        </p:spPr>
      </p:pic>
      <p:grpSp>
        <p:nvGrpSpPr>
          <p:cNvPr id="11" name="Group 50">
            <a:extLst>
              <a:ext uri="{FF2B5EF4-FFF2-40B4-BE49-F238E27FC236}">
                <a16:creationId xmlns:a16="http://schemas.microsoft.com/office/drawing/2014/main" id="{FA38BB00-EB2E-410F-B871-AC8CB480266B}"/>
              </a:ext>
            </a:extLst>
          </p:cNvPr>
          <p:cNvGrpSpPr>
            <a:grpSpLocks noChangeAspect="1"/>
          </p:cNvGrpSpPr>
          <p:nvPr/>
        </p:nvGrpSpPr>
        <p:grpSpPr bwMode="auto">
          <a:xfrm>
            <a:off x="3571497" y="2861106"/>
            <a:ext cx="5049007" cy="1135788"/>
            <a:chOff x="1193" y="1564"/>
            <a:chExt cx="5290" cy="1190"/>
          </a:xfrm>
        </p:grpSpPr>
        <p:sp>
          <p:nvSpPr>
            <p:cNvPr id="16" name="Oval 51">
              <a:extLst>
                <a:ext uri="{FF2B5EF4-FFF2-40B4-BE49-F238E27FC236}">
                  <a16:creationId xmlns:a16="http://schemas.microsoft.com/office/drawing/2014/main" id="{6318B192-EE12-46E5-B7F2-C1A200698CD7}"/>
                </a:ext>
              </a:extLst>
            </p:cNvPr>
            <p:cNvSpPr>
              <a:spLocks noChangeArrowheads="1"/>
            </p:cNvSpPr>
            <p:nvPr userDrawn="1"/>
          </p:nvSpPr>
          <p:spPr bwMode="auto">
            <a:xfrm>
              <a:off x="6369" y="2515"/>
              <a:ext cx="114" cy="115"/>
            </a:xfrm>
            <a:prstGeom prst="ellipse">
              <a:avLst/>
            </a:pr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2">
              <a:extLst>
                <a:ext uri="{FF2B5EF4-FFF2-40B4-BE49-F238E27FC236}">
                  <a16:creationId xmlns:a16="http://schemas.microsoft.com/office/drawing/2014/main" id="{78FC44F2-2F95-4382-B2D4-29AB14D90465}"/>
                </a:ext>
              </a:extLst>
            </p:cNvPr>
            <p:cNvSpPr>
              <a:spLocks/>
            </p:cNvSpPr>
            <p:nvPr userDrawn="1"/>
          </p:nvSpPr>
          <p:spPr bwMode="auto">
            <a:xfrm>
              <a:off x="3260" y="1564"/>
              <a:ext cx="315" cy="505"/>
            </a:xfrm>
            <a:custGeom>
              <a:avLst/>
              <a:gdLst>
                <a:gd name="T0" fmla="*/ 63 w 133"/>
                <a:gd name="T1" fmla="*/ 47 h 212"/>
                <a:gd name="T2" fmla="*/ 19 w 133"/>
                <a:gd name="T3" fmla="*/ 134 h 212"/>
                <a:gd name="T4" fmla="*/ 0 w 133"/>
                <a:gd name="T5" fmla="*/ 181 h 212"/>
                <a:gd name="T6" fmla="*/ 36 w 133"/>
                <a:gd name="T7" fmla="*/ 208 h 212"/>
                <a:gd name="T8" fmla="*/ 72 w 133"/>
                <a:gd name="T9" fmla="*/ 160 h 212"/>
                <a:gd name="T10" fmla="*/ 114 w 133"/>
                <a:gd name="T11" fmla="*/ 75 h 212"/>
                <a:gd name="T12" fmla="*/ 132 w 133"/>
                <a:gd name="T13" fmla="*/ 29 h 212"/>
                <a:gd name="T14" fmla="*/ 111 w 133"/>
                <a:gd name="T15" fmla="*/ 2 h 212"/>
                <a:gd name="T16" fmla="*/ 102 w 133"/>
                <a:gd name="T17" fmla="*/ 0 h 212"/>
                <a:gd name="T18" fmla="*/ 63 w 133"/>
                <a:gd name="T19" fmla="*/ 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63" y="47"/>
                  </a:moveTo>
                  <a:cubicBezTo>
                    <a:pt x="50" y="73"/>
                    <a:pt x="31" y="109"/>
                    <a:pt x="19" y="134"/>
                  </a:cubicBezTo>
                  <a:cubicBezTo>
                    <a:pt x="12" y="148"/>
                    <a:pt x="0" y="167"/>
                    <a:pt x="0" y="181"/>
                  </a:cubicBezTo>
                  <a:cubicBezTo>
                    <a:pt x="1" y="201"/>
                    <a:pt x="18" y="212"/>
                    <a:pt x="36" y="208"/>
                  </a:cubicBezTo>
                  <a:cubicBezTo>
                    <a:pt x="57" y="204"/>
                    <a:pt x="63" y="178"/>
                    <a:pt x="72" y="160"/>
                  </a:cubicBezTo>
                  <a:cubicBezTo>
                    <a:pt x="86" y="131"/>
                    <a:pt x="98" y="106"/>
                    <a:pt x="114" y="75"/>
                  </a:cubicBezTo>
                  <a:cubicBezTo>
                    <a:pt x="120" y="62"/>
                    <a:pt x="133" y="43"/>
                    <a:pt x="132" y="29"/>
                  </a:cubicBezTo>
                  <a:cubicBezTo>
                    <a:pt x="132" y="18"/>
                    <a:pt x="123" y="5"/>
                    <a:pt x="111" y="2"/>
                  </a:cubicBezTo>
                  <a:cubicBezTo>
                    <a:pt x="108" y="1"/>
                    <a:pt x="105" y="0"/>
                    <a:pt x="102" y="0"/>
                  </a:cubicBezTo>
                  <a:cubicBezTo>
                    <a:pt x="78" y="0"/>
                    <a:pt x="71" y="30"/>
                    <a:pt x="63" y="47"/>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EB65B2F9-56B4-4CD4-8258-7721344908B7}"/>
                </a:ext>
              </a:extLst>
            </p:cNvPr>
            <p:cNvSpPr>
              <a:spLocks/>
            </p:cNvSpPr>
            <p:nvPr userDrawn="1"/>
          </p:nvSpPr>
          <p:spPr bwMode="auto">
            <a:xfrm>
              <a:off x="3435" y="1564"/>
              <a:ext cx="316" cy="505"/>
            </a:xfrm>
            <a:custGeom>
              <a:avLst/>
              <a:gdLst>
                <a:gd name="T0" fmla="*/ 21 w 133"/>
                <a:gd name="T1" fmla="*/ 2 h 212"/>
                <a:gd name="T2" fmla="*/ 0 w 133"/>
                <a:gd name="T3" fmla="*/ 29 h 212"/>
                <a:gd name="T4" fmla="*/ 19 w 133"/>
                <a:gd name="T5" fmla="*/ 75 h 212"/>
                <a:gd name="T6" fmla="*/ 61 w 133"/>
                <a:gd name="T7" fmla="*/ 160 h 212"/>
                <a:gd name="T8" fmla="*/ 97 w 133"/>
                <a:gd name="T9" fmla="*/ 208 h 212"/>
                <a:gd name="T10" fmla="*/ 132 w 133"/>
                <a:gd name="T11" fmla="*/ 181 h 212"/>
                <a:gd name="T12" fmla="*/ 114 w 133"/>
                <a:gd name="T13" fmla="*/ 134 h 212"/>
                <a:gd name="T14" fmla="*/ 70 w 133"/>
                <a:gd name="T15" fmla="*/ 47 h 212"/>
                <a:gd name="T16" fmla="*/ 30 w 133"/>
                <a:gd name="T17" fmla="*/ 0 h 212"/>
                <a:gd name="T18" fmla="*/ 21 w 133"/>
                <a:gd name="T19" fmla="*/ 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21" y="2"/>
                  </a:moveTo>
                  <a:cubicBezTo>
                    <a:pt x="9" y="5"/>
                    <a:pt x="0" y="18"/>
                    <a:pt x="0" y="29"/>
                  </a:cubicBezTo>
                  <a:cubicBezTo>
                    <a:pt x="0" y="43"/>
                    <a:pt x="13" y="62"/>
                    <a:pt x="19" y="75"/>
                  </a:cubicBezTo>
                  <a:cubicBezTo>
                    <a:pt x="34" y="106"/>
                    <a:pt x="46" y="131"/>
                    <a:pt x="61" y="160"/>
                  </a:cubicBezTo>
                  <a:cubicBezTo>
                    <a:pt x="70" y="178"/>
                    <a:pt x="76" y="204"/>
                    <a:pt x="97" y="208"/>
                  </a:cubicBezTo>
                  <a:cubicBezTo>
                    <a:pt x="114" y="212"/>
                    <a:pt x="131" y="201"/>
                    <a:pt x="132" y="181"/>
                  </a:cubicBezTo>
                  <a:cubicBezTo>
                    <a:pt x="133" y="167"/>
                    <a:pt x="120" y="148"/>
                    <a:pt x="114" y="134"/>
                  </a:cubicBezTo>
                  <a:cubicBezTo>
                    <a:pt x="101" y="109"/>
                    <a:pt x="83" y="73"/>
                    <a:pt x="70" y="47"/>
                  </a:cubicBezTo>
                  <a:cubicBezTo>
                    <a:pt x="61" y="30"/>
                    <a:pt x="54" y="0"/>
                    <a:pt x="30" y="0"/>
                  </a:cubicBezTo>
                  <a:cubicBezTo>
                    <a:pt x="28" y="0"/>
                    <a:pt x="25" y="1"/>
                    <a:pt x="21" y="2"/>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4">
              <a:extLst>
                <a:ext uri="{FF2B5EF4-FFF2-40B4-BE49-F238E27FC236}">
                  <a16:creationId xmlns:a16="http://schemas.microsoft.com/office/drawing/2014/main" id="{E9FD3302-92C1-4138-9130-53E5A7BBDCBE}"/>
                </a:ext>
              </a:extLst>
            </p:cNvPr>
            <p:cNvSpPr>
              <a:spLocks/>
            </p:cNvSpPr>
            <p:nvPr userDrawn="1"/>
          </p:nvSpPr>
          <p:spPr bwMode="auto">
            <a:xfrm>
              <a:off x="3668" y="1564"/>
              <a:ext cx="316" cy="503"/>
            </a:xfrm>
            <a:custGeom>
              <a:avLst/>
              <a:gdLst>
                <a:gd name="T0" fmla="*/ 21 w 133"/>
                <a:gd name="T1" fmla="*/ 1 h 211"/>
                <a:gd name="T2" fmla="*/ 0 w 133"/>
                <a:gd name="T3" fmla="*/ 29 h 211"/>
                <a:gd name="T4" fmla="*/ 19 w 133"/>
                <a:gd name="T5" fmla="*/ 74 h 211"/>
                <a:gd name="T6" fmla="*/ 61 w 133"/>
                <a:gd name="T7" fmla="*/ 160 h 211"/>
                <a:gd name="T8" fmla="*/ 96 w 133"/>
                <a:gd name="T9" fmla="*/ 208 h 211"/>
                <a:gd name="T10" fmla="*/ 132 w 133"/>
                <a:gd name="T11" fmla="*/ 181 h 211"/>
                <a:gd name="T12" fmla="*/ 113 w 133"/>
                <a:gd name="T13" fmla="*/ 134 h 211"/>
                <a:gd name="T14" fmla="*/ 70 w 133"/>
                <a:gd name="T15" fmla="*/ 47 h 211"/>
                <a:gd name="T16" fmla="*/ 30 w 133"/>
                <a:gd name="T17" fmla="*/ 0 h 211"/>
                <a:gd name="T18" fmla="*/ 21 w 133"/>
                <a:gd name="T19" fmla="*/ 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1">
                  <a:moveTo>
                    <a:pt x="21" y="1"/>
                  </a:moveTo>
                  <a:cubicBezTo>
                    <a:pt x="9" y="4"/>
                    <a:pt x="0" y="17"/>
                    <a:pt x="0" y="29"/>
                  </a:cubicBezTo>
                  <a:cubicBezTo>
                    <a:pt x="0" y="42"/>
                    <a:pt x="13" y="62"/>
                    <a:pt x="19" y="74"/>
                  </a:cubicBezTo>
                  <a:cubicBezTo>
                    <a:pt x="34" y="106"/>
                    <a:pt x="46" y="130"/>
                    <a:pt x="61" y="160"/>
                  </a:cubicBezTo>
                  <a:cubicBezTo>
                    <a:pt x="70" y="178"/>
                    <a:pt x="76" y="204"/>
                    <a:pt x="96" y="208"/>
                  </a:cubicBezTo>
                  <a:cubicBezTo>
                    <a:pt x="114" y="211"/>
                    <a:pt x="131" y="201"/>
                    <a:pt x="132" y="181"/>
                  </a:cubicBezTo>
                  <a:cubicBezTo>
                    <a:pt x="133" y="167"/>
                    <a:pt x="120" y="148"/>
                    <a:pt x="113" y="134"/>
                  </a:cubicBezTo>
                  <a:cubicBezTo>
                    <a:pt x="101" y="108"/>
                    <a:pt x="83" y="72"/>
                    <a:pt x="70" y="47"/>
                  </a:cubicBezTo>
                  <a:cubicBezTo>
                    <a:pt x="61" y="30"/>
                    <a:pt x="54" y="0"/>
                    <a:pt x="30" y="0"/>
                  </a:cubicBezTo>
                  <a:cubicBezTo>
                    <a:pt x="28" y="0"/>
                    <a:pt x="24" y="0"/>
                    <a:pt x="21" y="1"/>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5">
              <a:extLst>
                <a:ext uri="{FF2B5EF4-FFF2-40B4-BE49-F238E27FC236}">
                  <a16:creationId xmlns:a16="http://schemas.microsoft.com/office/drawing/2014/main" id="{1666B6EC-64EA-4731-BE27-689D018D0046}"/>
                </a:ext>
              </a:extLst>
            </p:cNvPr>
            <p:cNvSpPr>
              <a:spLocks noEditPoints="1"/>
            </p:cNvSpPr>
            <p:nvPr userDrawn="1"/>
          </p:nvSpPr>
          <p:spPr bwMode="auto">
            <a:xfrm>
              <a:off x="1193" y="2181"/>
              <a:ext cx="367" cy="442"/>
            </a:xfrm>
            <a:custGeom>
              <a:avLst/>
              <a:gdLst>
                <a:gd name="T0" fmla="*/ 101 w 155"/>
                <a:gd name="T1" fmla="*/ 172 h 185"/>
                <a:gd name="T2" fmla="*/ 106 w 155"/>
                <a:gd name="T3" fmla="*/ 167 h 185"/>
                <a:gd name="T4" fmla="*/ 108 w 155"/>
                <a:gd name="T5" fmla="*/ 161 h 185"/>
                <a:gd name="T6" fmla="*/ 107 w 155"/>
                <a:gd name="T7" fmla="*/ 154 h 185"/>
                <a:gd name="T8" fmla="*/ 105 w 155"/>
                <a:gd name="T9" fmla="*/ 146 h 185"/>
                <a:gd name="T10" fmla="*/ 102 w 155"/>
                <a:gd name="T11" fmla="*/ 136 h 185"/>
                <a:gd name="T12" fmla="*/ 99 w 155"/>
                <a:gd name="T13" fmla="*/ 126 h 185"/>
                <a:gd name="T14" fmla="*/ 95 w 155"/>
                <a:gd name="T15" fmla="*/ 110 h 185"/>
                <a:gd name="T16" fmla="*/ 44 w 155"/>
                <a:gd name="T17" fmla="*/ 110 h 185"/>
                <a:gd name="T18" fmla="*/ 43 w 155"/>
                <a:gd name="T19" fmla="*/ 116 h 185"/>
                <a:gd name="T20" fmla="*/ 40 w 155"/>
                <a:gd name="T21" fmla="*/ 124 h 185"/>
                <a:gd name="T22" fmla="*/ 37 w 155"/>
                <a:gd name="T23" fmla="*/ 134 h 185"/>
                <a:gd name="T24" fmla="*/ 34 w 155"/>
                <a:gd name="T25" fmla="*/ 144 h 185"/>
                <a:gd name="T26" fmla="*/ 31 w 155"/>
                <a:gd name="T27" fmla="*/ 160 h 185"/>
                <a:gd name="T28" fmla="*/ 33 w 155"/>
                <a:gd name="T29" fmla="*/ 167 h 185"/>
                <a:gd name="T30" fmla="*/ 38 w 155"/>
                <a:gd name="T31" fmla="*/ 172 h 185"/>
                <a:gd name="T32" fmla="*/ 53 w 155"/>
                <a:gd name="T33" fmla="*/ 177 h 185"/>
                <a:gd name="T34" fmla="*/ 53 w 155"/>
                <a:gd name="T35" fmla="*/ 185 h 185"/>
                <a:gd name="T36" fmla="*/ 0 w 155"/>
                <a:gd name="T37" fmla="*/ 185 h 185"/>
                <a:gd name="T38" fmla="*/ 0 w 155"/>
                <a:gd name="T39" fmla="*/ 177 h 185"/>
                <a:gd name="T40" fmla="*/ 5 w 155"/>
                <a:gd name="T41" fmla="*/ 174 h 185"/>
                <a:gd name="T42" fmla="*/ 9 w 155"/>
                <a:gd name="T43" fmla="*/ 171 h 185"/>
                <a:gd name="T44" fmla="*/ 17 w 155"/>
                <a:gd name="T45" fmla="*/ 163 h 185"/>
                <a:gd name="T46" fmla="*/ 21 w 155"/>
                <a:gd name="T47" fmla="*/ 154 h 185"/>
                <a:gd name="T48" fmla="*/ 23 w 155"/>
                <a:gd name="T49" fmla="*/ 147 h 185"/>
                <a:gd name="T50" fmla="*/ 65 w 155"/>
                <a:gd name="T51" fmla="*/ 13 h 185"/>
                <a:gd name="T52" fmla="*/ 65 w 155"/>
                <a:gd name="T53" fmla="*/ 10 h 185"/>
                <a:gd name="T54" fmla="*/ 65 w 155"/>
                <a:gd name="T55" fmla="*/ 6 h 185"/>
                <a:gd name="T56" fmla="*/ 67 w 155"/>
                <a:gd name="T57" fmla="*/ 0 h 185"/>
                <a:gd name="T58" fmla="*/ 84 w 155"/>
                <a:gd name="T59" fmla="*/ 6 h 185"/>
                <a:gd name="T60" fmla="*/ 136 w 155"/>
                <a:gd name="T61" fmla="*/ 160 h 185"/>
                <a:gd name="T62" fmla="*/ 144 w 155"/>
                <a:gd name="T63" fmla="*/ 172 h 185"/>
                <a:gd name="T64" fmla="*/ 149 w 155"/>
                <a:gd name="T65" fmla="*/ 174 h 185"/>
                <a:gd name="T66" fmla="*/ 155 w 155"/>
                <a:gd name="T67" fmla="*/ 177 h 185"/>
                <a:gd name="T68" fmla="*/ 155 w 155"/>
                <a:gd name="T69" fmla="*/ 185 h 185"/>
                <a:gd name="T70" fmla="*/ 90 w 155"/>
                <a:gd name="T71" fmla="*/ 185 h 185"/>
                <a:gd name="T72" fmla="*/ 89 w 155"/>
                <a:gd name="T73" fmla="*/ 177 h 185"/>
                <a:gd name="T74" fmla="*/ 101 w 155"/>
                <a:gd name="T75" fmla="*/ 172 h 185"/>
                <a:gd name="T76" fmla="*/ 91 w 155"/>
                <a:gd name="T77" fmla="*/ 98 h 185"/>
                <a:gd name="T78" fmla="*/ 69 w 155"/>
                <a:gd name="T79" fmla="*/ 29 h 185"/>
                <a:gd name="T80" fmla="*/ 48 w 155"/>
                <a:gd name="T81" fmla="*/ 98 h 185"/>
                <a:gd name="T82" fmla="*/ 91 w 155"/>
                <a:gd name="T83" fmla="*/ 9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 h="185">
                  <a:moveTo>
                    <a:pt x="101" y="172"/>
                  </a:moveTo>
                  <a:cubicBezTo>
                    <a:pt x="103" y="170"/>
                    <a:pt x="105" y="169"/>
                    <a:pt x="106" y="167"/>
                  </a:cubicBezTo>
                  <a:cubicBezTo>
                    <a:pt x="108" y="165"/>
                    <a:pt x="108" y="163"/>
                    <a:pt x="108" y="161"/>
                  </a:cubicBezTo>
                  <a:cubicBezTo>
                    <a:pt x="108" y="159"/>
                    <a:pt x="108" y="157"/>
                    <a:pt x="107" y="154"/>
                  </a:cubicBezTo>
                  <a:cubicBezTo>
                    <a:pt x="107" y="152"/>
                    <a:pt x="106" y="149"/>
                    <a:pt x="105" y="146"/>
                  </a:cubicBezTo>
                  <a:cubicBezTo>
                    <a:pt x="104" y="143"/>
                    <a:pt x="103" y="139"/>
                    <a:pt x="102" y="136"/>
                  </a:cubicBezTo>
                  <a:cubicBezTo>
                    <a:pt x="101" y="132"/>
                    <a:pt x="100" y="129"/>
                    <a:pt x="99" y="126"/>
                  </a:cubicBezTo>
                  <a:cubicBezTo>
                    <a:pt x="97" y="118"/>
                    <a:pt x="95" y="113"/>
                    <a:pt x="95" y="110"/>
                  </a:cubicBezTo>
                  <a:cubicBezTo>
                    <a:pt x="44" y="110"/>
                    <a:pt x="44" y="110"/>
                    <a:pt x="44" y="110"/>
                  </a:cubicBezTo>
                  <a:cubicBezTo>
                    <a:pt x="44" y="112"/>
                    <a:pt x="43" y="114"/>
                    <a:pt x="43" y="116"/>
                  </a:cubicBezTo>
                  <a:cubicBezTo>
                    <a:pt x="42" y="118"/>
                    <a:pt x="41" y="121"/>
                    <a:pt x="40" y="124"/>
                  </a:cubicBezTo>
                  <a:cubicBezTo>
                    <a:pt x="39" y="127"/>
                    <a:pt x="38" y="131"/>
                    <a:pt x="37" y="134"/>
                  </a:cubicBezTo>
                  <a:cubicBezTo>
                    <a:pt x="36" y="138"/>
                    <a:pt x="35" y="141"/>
                    <a:pt x="34" y="144"/>
                  </a:cubicBezTo>
                  <a:cubicBezTo>
                    <a:pt x="32" y="152"/>
                    <a:pt x="31" y="157"/>
                    <a:pt x="31" y="160"/>
                  </a:cubicBezTo>
                  <a:cubicBezTo>
                    <a:pt x="31" y="163"/>
                    <a:pt x="32" y="165"/>
                    <a:pt x="33" y="167"/>
                  </a:cubicBezTo>
                  <a:cubicBezTo>
                    <a:pt x="35" y="169"/>
                    <a:pt x="36" y="171"/>
                    <a:pt x="38" y="172"/>
                  </a:cubicBezTo>
                  <a:cubicBezTo>
                    <a:pt x="41" y="173"/>
                    <a:pt x="46" y="175"/>
                    <a:pt x="53" y="177"/>
                  </a:cubicBezTo>
                  <a:cubicBezTo>
                    <a:pt x="53" y="185"/>
                    <a:pt x="53" y="185"/>
                    <a:pt x="53" y="185"/>
                  </a:cubicBezTo>
                  <a:cubicBezTo>
                    <a:pt x="0" y="185"/>
                    <a:pt x="0" y="185"/>
                    <a:pt x="0" y="185"/>
                  </a:cubicBezTo>
                  <a:cubicBezTo>
                    <a:pt x="0" y="177"/>
                    <a:pt x="0" y="177"/>
                    <a:pt x="0" y="177"/>
                  </a:cubicBezTo>
                  <a:cubicBezTo>
                    <a:pt x="1" y="176"/>
                    <a:pt x="3" y="175"/>
                    <a:pt x="5" y="174"/>
                  </a:cubicBezTo>
                  <a:cubicBezTo>
                    <a:pt x="6" y="173"/>
                    <a:pt x="8" y="172"/>
                    <a:pt x="9" y="171"/>
                  </a:cubicBezTo>
                  <a:cubicBezTo>
                    <a:pt x="13" y="169"/>
                    <a:pt x="16" y="167"/>
                    <a:pt x="17" y="163"/>
                  </a:cubicBezTo>
                  <a:cubicBezTo>
                    <a:pt x="19" y="160"/>
                    <a:pt x="20" y="157"/>
                    <a:pt x="21" y="154"/>
                  </a:cubicBezTo>
                  <a:cubicBezTo>
                    <a:pt x="21" y="152"/>
                    <a:pt x="22" y="149"/>
                    <a:pt x="23" y="147"/>
                  </a:cubicBezTo>
                  <a:cubicBezTo>
                    <a:pt x="65" y="13"/>
                    <a:pt x="65" y="13"/>
                    <a:pt x="65" y="13"/>
                  </a:cubicBezTo>
                  <a:cubicBezTo>
                    <a:pt x="65" y="12"/>
                    <a:pt x="65" y="11"/>
                    <a:pt x="65" y="10"/>
                  </a:cubicBezTo>
                  <a:cubicBezTo>
                    <a:pt x="65" y="9"/>
                    <a:pt x="65" y="7"/>
                    <a:pt x="65" y="6"/>
                  </a:cubicBezTo>
                  <a:cubicBezTo>
                    <a:pt x="66" y="3"/>
                    <a:pt x="66" y="1"/>
                    <a:pt x="67" y="0"/>
                  </a:cubicBezTo>
                  <a:cubicBezTo>
                    <a:pt x="74" y="0"/>
                    <a:pt x="80" y="2"/>
                    <a:pt x="84" y="6"/>
                  </a:cubicBezTo>
                  <a:cubicBezTo>
                    <a:pt x="136" y="160"/>
                    <a:pt x="136" y="160"/>
                    <a:pt x="136" y="160"/>
                  </a:cubicBezTo>
                  <a:cubicBezTo>
                    <a:pt x="137" y="165"/>
                    <a:pt x="140" y="169"/>
                    <a:pt x="144" y="172"/>
                  </a:cubicBezTo>
                  <a:cubicBezTo>
                    <a:pt x="145" y="173"/>
                    <a:pt x="147" y="174"/>
                    <a:pt x="149" y="174"/>
                  </a:cubicBezTo>
                  <a:cubicBezTo>
                    <a:pt x="151" y="175"/>
                    <a:pt x="153" y="176"/>
                    <a:pt x="155" y="177"/>
                  </a:cubicBezTo>
                  <a:cubicBezTo>
                    <a:pt x="155" y="185"/>
                    <a:pt x="155" y="185"/>
                    <a:pt x="155" y="185"/>
                  </a:cubicBezTo>
                  <a:cubicBezTo>
                    <a:pt x="90" y="185"/>
                    <a:pt x="90" y="185"/>
                    <a:pt x="90" y="185"/>
                  </a:cubicBezTo>
                  <a:cubicBezTo>
                    <a:pt x="89" y="177"/>
                    <a:pt x="89" y="177"/>
                    <a:pt x="89" y="177"/>
                  </a:cubicBezTo>
                  <a:cubicBezTo>
                    <a:pt x="95" y="175"/>
                    <a:pt x="99" y="173"/>
                    <a:pt x="101" y="172"/>
                  </a:cubicBezTo>
                  <a:close/>
                  <a:moveTo>
                    <a:pt x="91" y="98"/>
                  </a:moveTo>
                  <a:cubicBezTo>
                    <a:pt x="69" y="29"/>
                    <a:pt x="69" y="29"/>
                    <a:pt x="69" y="29"/>
                  </a:cubicBezTo>
                  <a:cubicBezTo>
                    <a:pt x="48" y="98"/>
                    <a:pt x="48" y="98"/>
                    <a:pt x="48" y="98"/>
                  </a:cubicBezTo>
                  <a:lnTo>
                    <a:pt x="9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6">
              <a:extLst>
                <a:ext uri="{FF2B5EF4-FFF2-40B4-BE49-F238E27FC236}">
                  <a16:creationId xmlns:a16="http://schemas.microsoft.com/office/drawing/2014/main" id="{0451D507-C22F-4480-9823-007B0CF82DB4}"/>
                </a:ext>
              </a:extLst>
            </p:cNvPr>
            <p:cNvSpPr>
              <a:spLocks/>
            </p:cNvSpPr>
            <p:nvPr userDrawn="1"/>
          </p:nvSpPr>
          <p:spPr bwMode="auto">
            <a:xfrm>
              <a:off x="1584" y="2315"/>
              <a:ext cx="302" cy="308"/>
            </a:xfrm>
            <a:custGeom>
              <a:avLst/>
              <a:gdLst>
                <a:gd name="T0" fmla="*/ 68 w 127"/>
                <a:gd name="T1" fmla="*/ 15 h 129"/>
                <a:gd name="T2" fmla="*/ 39 w 127"/>
                <a:gd name="T3" fmla="*/ 36 h 129"/>
                <a:gd name="T4" fmla="*/ 39 w 127"/>
                <a:gd name="T5" fmla="*/ 98 h 129"/>
                <a:gd name="T6" fmla="*/ 50 w 127"/>
                <a:gd name="T7" fmla="*/ 120 h 129"/>
                <a:gd name="T8" fmla="*/ 58 w 127"/>
                <a:gd name="T9" fmla="*/ 122 h 129"/>
                <a:gd name="T10" fmla="*/ 58 w 127"/>
                <a:gd name="T11" fmla="*/ 129 h 129"/>
                <a:gd name="T12" fmla="*/ 1 w 127"/>
                <a:gd name="T13" fmla="*/ 129 h 129"/>
                <a:gd name="T14" fmla="*/ 1 w 127"/>
                <a:gd name="T15" fmla="*/ 128 h 129"/>
                <a:gd name="T16" fmla="*/ 1 w 127"/>
                <a:gd name="T17" fmla="*/ 123 h 129"/>
                <a:gd name="T18" fmla="*/ 1 w 127"/>
                <a:gd name="T19" fmla="*/ 121 h 129"/>
                <a:gd name="T20" fmla="*/ 13 w 127"/>
                <a:gd name="T21" fmla="*/ 116 h 129"/>
                <a:gd name="T22" fmla="*/ 18 w 127"/>
                <a:gd name="T23" fmla="*/ 103 h 129"/>
                <a:gd name="T24" fmla="*/ 18 w 127"/>
                <a:gd name="T25" fmla="*/ 27 h 129"/>
                <a:gd name="T26" fmla="*/ 0 w 127"/>
                <a:gd name="T27" fmla="*/ 16 h 129"/>
                <a:gd name="T28" fmla="*/ 1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1 w 127"/>
                <a:gd name="T45" fmla="*/ 64 h 129"/>
                <a:gd name="T46" fmla="*/ 111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2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90 w 127"/>
                <a:gd name="T75" fmla="*/ 97 h 129"/>
                <a:gd name="T76" fmla="*/ 90 w 127"/>
                <a:gd name="T77" fmla="*/ 66 h 129"/>
                <a:gd name="T78" fmla="*/ 87 w 127"/>
                <a:gd name="T79" fmla="*/ 31 h 129"/>
                <a:gd name="T80" fmla="*/ 81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9" y="36"/>
                  </a:cubicBezTo>
                  <a:cubicBezTo>
                    <a:pt x="39" y="98"/>
                    <a:pt x="39" y="98"/>
                    <a:pt x="39" y="98"/>
                  </a:cubicBezTo>
                  <a:cubicBezTo>
                    <a:pt x="39" y="110"/>
                    <a:pt x="42" y="117"/>
                    <a:pt x="50" y="120"/>
                  </a:cubicBezTo>
                  <a:cubicBezTo>
                    <a:pt x="52" y="121"/>
                    <a:pt x="55" y="122"/>
                    <a:pt x="58" y="122"/>
                  </a:cubicBezTo>
                  <a:cubicBezTo>
                    <a:pt x="58" y="129"/>
                    <a:pt x="58" y="129"/>
                    <a:pt x="58" y="129"/>
                  </a:cubicBezTo>
                  <a:cubicBezTo>
                    <a:pt x="1" y="129"/>
                    <a:pt x="1" y="129"/>
                    <a:pt x="1" y="129"/>
                  </a:cubicBezTo>
                  <a:cubicBezTo>
                    <a:pt x="1" y="129"/>
                    <a:pt x="1" y="128"/>
                    <a:pt x="1" y="128"/>
                  </a:cubicBezTo>
                  <a:cubicBezTo>
                    <a:pt x="1" y="123"/>
                    <a:pt x="1" y="123"/>
                    <a:pt x="1" y="123"/>
                  </a:cubicBezTo>
                  <a:cubicBezTo>
                    <a:pt x="1" y="122"/>
                    <a:pt x="1" y="122"/>
                    <a:pt x="1" y="121"/>
                  </a:cubicBezTo>
                  <a:cubicBezTo>
                    <a:pt x="7" y="119"/>
                    <a:pt x="11" y="118"/>
                    <a:pt x="13" y="116"/>
                  </a:cubicBezTo>
                  <a:cubicBezTo>
                    <a:pt x="16" y="114"/>
                    <a:pt x="18" y="109"/>
                    <a:pt x="18" y="103"/>
                  </a:cubicBezTo>
                  <a:cubicBezTo>
                    <a:pt x="18" y="27"/>
                    <a:pt x="18" y="27"/>
                    <a:pt x="18" y="27"/>
                  </a:cubicBezTo>
                  <a:cubicBezTo>
                    <a:pt x="16" y="23"/>
                    <a:pt x="10" y="19"/>
                    <a:pt x="0" y="16"/>
                  </a:cubicBezTo>
                  <a:cubicBezTo>
                    <a:pt x="1" y="11"/>
                    <a:pt x="1" y="11"/>
                    <a:pt x="1"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10" y="30"/>
                    <a:pt x="110" y="45"/>
                  </a:cubicBezTo>
                  <a:cubicBezTo>
                    <a:pt x="110" y="51"/>
                    <a:pt x="111" y="57"/>
                    <a:pt x="111" y="64"/>
                  </a:cubicBezTo>
                  <a:cubicBezTo>
                    <a:pt x="111" y="95"/>
                    <a:pt x="111" y="95"/>
                    <a:pt x="111" y="95"/>
                  </a:cubicBezTo>
                  <a:cubicBezTo>
                    <a:pt x="111" y="105"/>
                    <a:pt x="112" y="112"/>
                    <a:pt x="114" y="115"/>
                  </a:cubicBezTo>
                  <a:cubicBezTo>
                    <a:pt x="115" y="117"/>
                    <a:pt x="117" y="118"/>
                    <a:pt x="119" y="118"/>
                  </a:cubicBezTo>
                  <a:cubicBezTo>
                    <a:pt x="121" y="119"/>
                    <a:pt x="124"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2" y="129"/>
                    <a:pt x="72" y="129"/>
                    <a:pt x="72" y="129"/>
                  </a:cubicBezTo>
                  <a:cubicBezTo>
                    <a:pt x="72" y="128"/>
                    <a:pt x="71" y="127"/>
                    <a:pt x="71" y="125"/>
                  </a:cubicBezTo>
                  <a:cubicBezTo>
                    <a:pt x="71" y="122"/>
                    <a:pt x="71" y="122"/>
                    <a:pt x="71" y="122"/>
                  </a:cubicBezTo>
                  <a:cubicBezTo>
                    <a:pt x="73" y="121"/>
                    <a:pt x="75" y="121"/>
                    <a:pt x="76" y="120"/>
                  </a:cubicBezTo>
                  <a:cubicBezTo>
                    <a:pt x="78" y="120"/>
                    <a:pt x="80" y="119"/>
                    <a:pt x="82" y="118"/>
                  </a:cubicBezTo>
                  <a:cubicBezTo>
                    <a:pt x="86" y="116"/>
                    <a:pt x="88" y="112"/>
                    <a:pt x="89" y="108"/>
                  </a:cubicBezTo>
                  <a:cubicBezTo>
                    <a:pt x="89" y="105"/>
                    <a:pt x="90" y="102"/>
                    <a:pt x="90" y="97"/>
                  </a:cubicBezTo>
                  <a:cubicBezTo>
                    <a:pt x="90" y="66"/>
                    <a:pt x="90" y="66"/>
                    <a:pt x="90" y="66"/>
                  </a:cubicBezTo>
                  <a:cubicBezTo>
                    <a:pt x="90" y="48"/>
                    <a:pt x="89" y="36"/>
                    <a:pt x="87" y="31"/>
                  </a:cubicBezTo>
                  <a:cubicBezTo>
                    <a:pt x="86" y="25"/>
                    <a:pt x="84" y="21"/>
                    <a:pt x="81" y="19"/>
                  </a:cubicBezTo>
                  <a:cubicBezTo>
                    <a:pt x="78" y="16"/>
                    <a:pt x="74"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7">
              <a:extLst>
                <a:ext uri="{FF2B5EF4-FFF2-40B4-BE49-F238E27FC236}">
                  <a16:creationId xmlns:a16="http://schemas.microsoft.com/office/drawing/2014/main" id="{D07FE429-1CF5-42EE-8966-69166538CD61}"/>
                </a:ext>
              </a:extLst>
            </p:cNvPr>
            <p:cNvSpPr>
              <a:spLocks noEditPoints="1"/>
            </p:cNvSpPr>
            <p:nvPr userDrawn="1"/>
          </p:nvSpPr>
          <p:spPr bwMode="auto">
            <a:xfrm>
              <a:off x="1931" y="2165"/>
              <a:ext cx="282" cy="465"/>
            </a:xfrm>
            <a:custGeom>
              <a:avLst/>
              <a:gdLst>
                <a:gd name="T0" fmla="*/ 80 w 119"/>
                <a:gd name="T1" fmla="*/ 172 h 195"/>
                <a:gd name="T2" fmla="*/ 45 w 119"/>
                <a:gd name="T3" fmla="*/ 195 h 195"/>
                <a:gd name="T4" fmla="*/ 13 w 119"/>
                <a:gd name="T5" fmla="*/ 178 h 195"/>
                <a:gd name="T6" fmla="*/ 0 w 119"/>
                <a:gd name="T7" fmla="*/ 134 h 195"/>
                <a:gd name="T8" fmla="*/ 14 w 119"/>
                <a:gd name="T9" fmla="*/ 83 h 195"/>
                <a:gd name="T10" fmla="*/ 51 w 119"/>
                <a:gd name="T11" fmla="*/ 63 h 195"/>
                <a:gd name="T12" fmla="*/ 66 w 119"/>
                <a:gd name="T13" fmla="*/ 66 h 195"/>
                <a:gd name="T14" fmla="*/ 80 w 119"/>
                <a:gd name="T15" fmla="*/ 73 h 195"/>
                <a:gd name="T16" fmla="*/ 80 w 119"/>
                <a:gd name="T17" fmla="*/ 28 h 195"/>
                <a:gd name="T18" fmla="*/ 61 w 119"/>
                <a:gd name="T19" fmla="*/ 15 h 195"/>
                <a:gd name="T20" fmla="*/ 61 w 119"/>
                <a:gd name="T21" fmla="*/ 10 h 195"/>
                <a:gd name="T22" fmla="*/ 93 w 119"/>
                <a:gd name="T23" fmla="*/ 1 h 195"/>
                <a:gd name="T24" fmla="*/ 101 w 119"/>
                <a:gd name="T25" fmla="*/ 0 h 195"/>
                <a:gd name="T26" fmla="*/ 101 w 119"/>
                <a:gd name="T27" fmla="*/ 164 h 195"/>
                <a:gd name="T28" fmla="*/ 107 w 119"/>
                <a:gd name="T29" fmla="*/ 177 h 195"/>
                <a:gd name="T30" fmla="*/ 119 w 119"/>
                <a:gd name="T31" fmla="*/ 180 h 195"/>
                <a:gd name="T32" fmla="*/ 119 w 119"/>
                <a:gd name="T33" fmla="*/ 187 h 195"/>
                <a:gd name="T34" fmla="*/ 89 w 119"/>
                <a:gd name="T35" fmla="*/ 194 h 195"/>
                <a:gd name="T36" fmla="*/ 81 w 119"/>
                <a:gd name="T37" fmla="*/ 194 h 195"/>
                <a:gd name="T38" fmla="*/ 80 w 119"/>
                <a:gd name="T39" fmla="*/ 172 h 195"/>
                <a:gd name="T40" fmla="*/ 80 w 119"/>
                <a:gd name="T41" fmla="*/ 161 h 195"/>
                <a:gd name="T42" fmla="*/ 80 w 119"/>
                <a:gd name="T43" fmla="*/ 121 h 195"/>
                <a:gd name="T44" fmla="*/ 75 w 119"/>
                <a:gd name="T45" fmla="*/ 91 h 195"/>
                <a:gd name="T46" fmla="*/ 61 w 119"/>
                <a:gd name="T47" fmla="*/ 77 h 195"/>
                <a:gd name="T48" fmla="*/ 49 w 119"/>
                <a:gd name="T49" fmla="*/ 74 h 195"/>
                <a:gd name="T50" fmla="*/ 38 w 119"/>
                <a:gd name="T51" fmla="*/ 78 h 195"/>
                <a:gd name="T52" fmla="*/ 28 w 119"/>
                <a:gd name="T53" fmla="*/ 89 h 195"/>
                <a:gd name="T54" fmla="*/ 20 w 119"/>
                <a:gd name="T55" fmla="*/ 125 h 195"/>
                <a:gd name="T56" fmla="*/ 28 w 119"/>
                <a:gd name="T57" fmla="*/ 161 h 195"/>
                <a:gd name="T58" fmla="*/ 54 w 119"/>
                <a:gd name="T59" fmla="*/ 178 h 195"/>
                <a:gd name="T60" fmla="*/ 80 w 119"/>
                <a:gd name="T61" fmla="*/ 1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 h="195">
                  <a:moveTo>
                    <a:pt x="80" y="172"/>
                  </a:moveTo>
                  <a:cubicBezTo>
                    <a:pt x="70" y="187"/>
                    <a:pt x="58" y="195"/>
                    <a:pt x="45" y="195"/>
                  </a:cubicBezTo>
                  <a:cubicBezTo>
                    <a:pt x="32" y="195"/>
                    <a:pt x="21" y="189"/>
                    <a:pt x="13" y="178"/>
                  </a:cubicBezTo>
                  <a:cubicBezTo>
                    <a:pt x="4" y="167"/>
                    <a:pt x="0" y="152"/>
                    <a:pt x="0" y="134"/>
                  </a:cubicBezTo>
                  <a:cubicBezTo>
                    <a:pt x="0" y="113"/>
                    <a:pt x="4" y="96"/>
                    <a:pt x="14" y="83"/>
                  </a:cubicBezTo>
                  <a:cubicBezTo>
                    <a:pt x="24" y="70"/>
                    <a:pt x="37" y="63"/>
                    <a:pt x="51" y="63"/>
                  </a:cubicBezTo>
                  <a:cubicBezTo>
                    <a:pt x="57" y="63"/>
                    <a:pt x="61" y="64"/>
                    <a:pt x="66" y="66"/>
                  </a:cubicBezTo>
                  <a:cubicBezTo>
                    <a:pt x="70" y="68"/>
                    <a:pt x="75" y="71"/>
                    <a:pt x="80" y="73"/>
                  </a:cubicBezTo>
                  <a:cubicBezTo>
                    <a:pt x="80" y="28"/>
                    <a:pt x="80" y="28"/>
                    <a:pt x="80" y="28"/>
                  </a:cubicBezTo>
                  <a:cubicBezTo>
                    <a:pt x="78" y="24"/>
                    <a:pt x="72" y="20"/>
                    <a:pt x="61" y="15"/>
                  </a:cubicBezTo>
                  <a:cubicBezTo>
                    <a:pt x="61" y="10"/>
                    <a:pt x="61" y="10"/>
                    <a:pt x="61" y="10"/>
                  </a:cubicBezTo>
                  <a:cubicBezTo>
                    <a:pt x="93" y="1"/>
                    <a:pt x="93" y="1"/>
                    <a:pt x="93" y="1"/>
                  </a:cubicBezTo>
                  <a:cubicBezTo>
                    <a:pt x="101" y="0"/>
                    <a:pt x="101" y="0"/>
                    <a:pt x="101" y="0"/>
                  </a:cubicBezTo>
                  <a:cubicBezTo>
                    <a:pt x="101" y="164"/>
                    <a:pt x="101" y="164"/>
                    <a:pt x="101" y="164"/>
                  </a:cubicBezTo>
                  <a:cubicBezTo>
                    <a:pt x="101" y="170"/>
                    <a:pt x="103" y="174"/>
                    <a:pt x="107" y="177"/>
                  </a:cubicBezTo>
                  <a:cubicBezTo>
                    <a:pt x="111" y="179"/>
                    <a:pt x="114" y="180"/>
                    <a:pt x="119" y="180"/>
                  </a:cubicBezTo>
                  <a:cubicBezTo>
                    <a:pt x="119" y="187"/>
                    <a:pt x="119" y="187"/>
                    <a:pt x="119" y="187"/>
                  </a:cubicBezTo>
                  <a:cubicBezTo>
                    <a:pt x="89" y="194"/>
                    <a:pt x="89" y="194"/>
                    <a:pt x="89" y="194"/>
                  </a:cubicBezTo>
                  <a:cubicBezTo>
                    <a:pt x="81" y="194"/>
                    <a:pt x="81" y="194"/>
                    <a:pt x="81" y="194"/>
                  </a:cubicBezTo>
                  <a:lnTo>
                    <a:pt x="80" y="172"/>
                  </a:lnTo>
                  <a:close/>
                  <a:moveTo>
                    <a:pt x="80" y="161"/>
                  </a:moveTo>
                  <a:cubicBezTo>
                    <a:pt x="80" y="121"/>
                    <a:pt x="80" y="121"/>
                    <a:pt x="80" y="121"/>
                  </a:cubicBezTo>
                  <a:cubicBezTo>
                    <a:pt x="80" y="107"/>
                    <a:pt x="78" y="98"/>
                    <a:pt x="75" y="91"/>
                  </a:cubicBezTo>
                  <a:cubicBezTo>
                    <a:pt x="72" y="85"/>
                    <a:pt x="67" y="80"/>
                    <a:pt x="61" y="77"/>
                  </a:cubicBezTo>
                  <a:cubicBezTo>
                    <a:pt x="57" y="75"/>
                    <a:pt x="54" y="74"/>
                    <a:pt x="49" y="74"/>
                  </a:cubicBezTo>
                  <a:cubicBezTo>
                    <a:pt x="45" y="74"/>
                    <a:pt x="42" y="75"/>
                    <a:pt x="38" y="78"/>
                  </a:cubicBezTo>
                  <a:cubicBezTo>
                    <a:pt x="34" y="81"/>
                    <a:pt x="31" y="85"/>
                    <a:pt x="28" y="89"/>
                  </a:cubicBezTo>
                  <a:cubicBezTo>
                    <a:pt x="23" y="99"/>
                    <a:pt x="20" y="111"/>
                    <a:pt x="20" y="125"/>
                  </a:cubicBezTo>
                  <a:cubicBezTo>
                    <a:pt x="20" y="139"/>
                    <a:pt x="23" y="151"/>
                    <a:pt x="28" y="161"/>
                  </a:cubicBezTo>
                  <a:cubicBezTo>
                    <a:pt x="35" y="172"/>
                    <a:pt x="43" y="178"/>
                    <a:pt x="54" y="178"/>
                  </a:cubicBezTo>
                  <a:cubicBezTo>
                    <a:pt x="64" y="178"/>
                    <a:pt x="73" y="172"/>
                    <a:pt x="80"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8">
              <a:extLst>
                <a:ext uri="{FF2B5EF4-FFF2-40B4-BE49-F238E27FC236}">
                  <a16:creationId xmlns:a16="http://schemas.microsoft.com/office/drawing/2014/main" id="{680CC87C-4BC0-4436-8F6F-25ADDEA07D50}"/>
                </a:ext>
              </a:extLst>
            </p:cNvPr>
            <p:cNvSpPr>
              <a:spLocks noEditPoints="1"/>
            </p:cNvSpPr>
            <p:nvPr userDrawn="1"/>
          </p:nvSpPr>
          <p:spPr bwMode="auto">
            <a:xfrm>
              <a:off x="2261" y="2315"/>
              <a:ext cx="213" cy="315"/>
            </a:xfrm>
            <a:custGeom>
              <a:avLst/>
              <a:gdLst>
                <a:gd name="T0" fmla="*/ 84 w 90"/>
                <a:gd name="T1" fmla="*/ 102 h 132"/>
                <a:gd name="T2" fmla="*/ 88 w 90"/>
                <a:gd name="T3" fmla="*/ 106 h 132"/>
                <a:gd name="T4" fmla="*/ 72 w 90"/>
                <a:gd name="T5" fmla="*/ 125 h 132"/>
                <a:gd name="T6" fmla="*/ 49 w 90"/>
                <a:gd name="T7" fmla="*/ 132 h 132"/>
                <a:gd name="T8" fmla="*/ 29 w 90"/>
                <a:gd name="T9" fmla="*/ 127 h 132"/>
                <a:gd name="T10" fmla="*/ 14 w 90"/>
                <a:gd name="T11" fmla="*/ 114 h 132"/>
                <a:gd name="T12" fmla="*/ 0 w 90"/>
                <a:gd name="T13" fmla="*/ 66 h 132"/>
                <a:gd name="T14" fmla="*/ 15 w 90"/>
                <a:gd name="T15" fmla="*/ 18 h 132"/>
                <a:gd name="T16" fmla="*/ 49 w 90"/>
                <a:gd name="T17" fmla="*/ 0 h 132"/>
                <a:gd name="T18" fmla="*/ 76 w 90"/>
                <a:gd name="T19" fmla="*/ 12 h 132"/>
                <a:gd name="T20" fmla="*/ 89 w 90"/>
                <a:gd name="T21" fmla="*/ 42 h 132"/>
                <a:gd name="T22" fmla="*/ 90 w 90"/>
                <a:gd name="T23" fmla="*/ 54 h 132"/>
                <a:gd name="T24" fmla="*/ 90 w 90"/>
                <a:gd name="T25" fmla="*/ 55 h 132"/>
                <a:gd name="T26" fmla="*/ 20 w 90"/>
                <a:gd name="T27" fmla="*/ 55 h 132"/>
                <a:gd name="T28" fmla="*/ 19 w 90"/>
                <a:gd name="T29" fmla="*/ 58 h 132"/>
                <a:gd name="T30" fmla="*/ 19 w 90"/>
                <a:gd name="T31" fmla="*/ 59 h 132"/>
                <a:gd name="T32" fmla="*/ 31 w 90"/>
                <a:gd name="T33" fmla="*/ 99 h 132"/>
                <a:gd name="T34" fmla="*/ 56 w 90"/>
                <a:gd name="T35" fmla="*/ 112 h 132"/>
                <a:gd name="T36" fmla="*/ 84 w 90"/>
                <a:gd name="T37" fmla="*/ 102 h 132"/>
                <a:gd name="T38" fmla="*/ 68 w 90"/>
                <a:gd name="T39" fmla="*/ 44 h 132"/>
                <a:gd name="T40" fmla="*/ 47 w 90"/>
                <a:gd name="T41" fmla="*/ 9 h 132"/>
                <a:gd name="T42" fmla="*/ 29 w 90"/>
                <a:gd name="T43" fmla="*/ 20 h 132"/>
                <a:gd name="T44" fmla="*/ 20 w 90"/>
                <a:gd name="T45" fmla="*/ 46 h 132"/>
                <a:gd name="T46" fmla="*/ 60 w 90"/>
                <a:gd name="T47" fmla="*/ 46 h 132"/>
                <a:gd name="T48" fmla="*/ 68 w 90"/>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132">
                  <a:moveTo>
                    <a:pt x="84" y="102"/>
                  </a:moveTo>
                  <a:cubicBezTo>
                    <a:pt x="88" y="106"/>
                    <a:pt x="88" y="106"/>
                    <a:pt x="88" y="106"/>
                  </a:cubicBezTo>
                  <a:cubicBezTo>
                    <a:pt x="85" y="114"/>
                    <a:pt x="80" y="120"/>
                    <a:pt x="72" y="125"/>
                  </a:cubicBezTo>
                  <a:cubicBezTo>
                    <a:pt x="64" y="130"/>
                    <a:pt x="57" y="132"/>
                    <a:pt x="49" y="132"/>
                  </a:cubicBezTo>
                  <a:cubicBezTo>
                    <a:pt x="42" y="132"/>
                    <a:pt x="35" y="130"/>
                    <a:pt x="29" y="127"/>
                  </a:cubicBezTo>
                  <a:cubicBezTo>
                    <a:pt x="23" y="124"/>
                    <a:pt x="18" y="119"/>
                    <a:pt x="14" y="114"/>
                  </a:cubicBezTo>
                  <a:cubicBezTo>
                    <a:pt x="4" y="101"/>
                    <a:pt x="0" y="86"/>
                    <a:pt x="0" y="66"/>
                  </a:cubicBezTo>
                  <a:cubicBezTo>
                    <a:pt x="0" y="47"/>
                    <a:pt x="5" y="31"/>
                    <a:pt x="15" y="18"/>
                  </a:cubicBezTo>
                  <a:cubicBezTo>
                    <a:pt x="24" y="6"/>
                    <a:pt x="36" y="0"/>
                    <a:pt x="49" y="0"/>
                  </a:cubicBezTo>
                  <a:cubicBezTo>
                    <a:pt x="60" y="0"/>
                    <a:pt x="69" y="4"/>
                    <a:pt x="76" y="12"/>
                  </a:cubicBezTo>
                  <a:cubicBezTo>
                    <a:pt x="83" y="19"/>
                    <a:pt x="87" y="30"/>
                    <a:pt x="89" y="42"/>
                  </a:cubicBezTo>
                  <a:cubicBezTo>
                    <a:pt x="90" y="47"/>
                    <a:pt x="90" y="51"/>
                    <a:pt x="90" y="54"/>
                  </a:cubicBezTo>
                  <a:cubicBezTo>
                    <a:pt x="90" y="55"/>
                    <a:pt x="90" y="55"/>
                    <a:pt x="90" y="55"/>
                  </a:cubicBezTo>
                  <a:cubicBezTo>
                    <a:pt x="20" y="55"/>
                    <a:pt x="20" y="55"/>
                    <a:pt x="20" y="55"/>
                  </a:cubicBezTo>
                  <a:cubicBezTo>
                    <a:pt x="20" y="56"/>
                    <a:pt x="19" y="57"/>
                    <a:pt x="19" y="58"/>
                  </a:cubicBezTo>
                  <a:cubicBezTo>
                    <a:pt x="19" y="58"/>
                    <a:pt x="19" y="59"/>
                    <a:pt x="19" y="59"/>
                  </a:cubicBezTo>
                  <a:cubicBezTo>
                    <a:pt x="19" y="77"/>
                    <a:pt x="23" y="90"/>
                    <a:pt x="31" y="99"/>
                  </a:cubicBezTo>
                  <a:cubicBezTo>
                    <a:pt x="37" y="108"/>
                    <a:pt x="46" y="112"/>
                    <a:pt x="56" y="112"/>
                  </a:cubicBezTo>
                  <a:cubicBezTo>
                    <a:pt x="66" y="112"/>
                    <a:pt x="76" y="109"/>
                    <a:pt x="84" y="102"/>
                  </a:cubicBezTo>
                  <a:close/>
                  <a:moveTo>
                    <a:pt x="68" y="44"/>
                  </a:moveTo>
                  <a:cubicBezTo>
                    <a:pt x="67" y="21"/>
                    <a:pt x="60" y="9"/>
                    <a:pt x="47" y="9"/>
                  </a:cubicBezTo>
                  <a:cubicBezTo>
                    <a:pt x="39" y="9"/>
                    <a:pt x="33" y="13"/>
                    <a:pt x="29" y="20"/>
                  </a:cubicBezTo>
                  <a:cubicBezTo>
                    <a:pt x="24" y="27"/>
                    <a:pt x="21" y="36"/>
                    <a:pt x="20" y="46"/>
                  </a:cubicBezTo>
                  <a:cubicBezTo>
                    <a:pt x="60" y="46"/>
                    <a:pt x="60" y="46"/>
                    <a:pt x="60" y="46"/>
                  </a:cubicBezTo>
                  <a:cubicBezTo>
                    <a:pt x="63" y="46"/>
                    <a:pt x="66" y="45"/>
                    <a:pt x="6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9">
              <a:extLst>
                <a:ext uri="{FF2B5EF4-FFF2-40B4-BE49-F238E27FC236}">
                  <a16:creationId xmlns:a16="http://schemas.microsoft.com/office/drawing/2014/main" id="{68F09A67-1F07-4D1F-A93B-085385BB54F2}"/>
                </a:ext>
              </a:extLst>
            </p:cNvPr>
            <p:cNvSpPr>
              <a:spLocks/>
            </p:cNvSpPr>
            <p:nvPr userDrawn="1"/>
          </p:nvSpPr>
          <p:spPr bwMode="auto">
            <a:xfrm>
              <a:off x="2522" y="2315"/>
              <a:ext cx="194" cy="308"/>
            </a:xfrm>
            <a:custGeom>
              <a:avLst/>
              <a:gdLst>
                <a:gd name="T0" fmla="*/ 17 w 82"/>
                <a:gd name="T1" fmla="*/ 28 h 129"/>
                <a:gd name="T2" fmla="*/ 0 w 82"/>
                <a:gd name="T3" fmla="*/ 16 h 129"/>
                <a:gd name="T4" fmla="*/ 0 w 82"/>
                <a:gd name="T5" fmla="*/ 11 h 129"/>
                <a:gd name="T6" fmla="*/ 30 w 82"/>
                <a:gd name="T7" fmla="*/ 1 h 129"/>
                <a:gd name="T8" fmla="*/ 36 w 82"/>
                <a:gd name="T9" fmla="*/ 1 h 129"/>
                <a:gd name="T10" fmla="*/ 38 w 82"/>
                <a:gd name="T11" fmla="*/ 27 h 129"/>
                <a:gd name="T12" fmla="*/ 58 w 82"/>
                <a:gd name="T13" fmla="*/ 1 h 129"/>
                <a:gd name="T14" fmla="*/ 66 w 82"/>
                <a:gd name="T15" fmla="*/ 0 h 129"/>
                <a:gd name="T16" fmla="*/ 73 w 82"/>
                <a:gd name="T17" fmla="*/ 2 h 129"/>
                <a:gd name="T18" fmla="*/ 78 w 82"/>
                <a:gd name="T19" fmla="*/ 5 h 129"/>
                <a:gd name="T20" fmla="*/ 82 w 82"/>
                <a:gd name="T21" fmla="*/ 16 h 129"/>
                <a:gd name="T22" fmla="*/ 80 w 82"/>
                <a:gd name="T23" fmla="*/ 24 h 129"/>
                <a:gd name="T24" fmla="*/ 73 w 82"/>
                <a:gd name="T25" fmla="*/ 32 h 129"/>
                <a:gd name="T26" fmla="*/ 67 w 82"/>
                <a:gd name="T27" fmla="*/ 30 h 129"/>
                <a:gd name="T28" fmla="*/ 63 w 82"/>
                <a:gd name="T29" fmla="*/ 25 h 129"/>
                <a:gd name="T30" fmla="*/ 60 w 82"/>
                <a:gd name="T31" fmla="*/ 20 h 129"/>
                <a:gd name="T32" fmla="*/ 56 w 82"/>
                <a:gd name="T33" fmla="*/ 18 h 129"/>
                <a:gd name="T34" fmla="*/ 50 w 82"/>
                <a:gd name="T35" fmla="*/ 20 h 129"/>
                <a:gd name="T36" fmla="*/ 46 w 82"/>
                <a:gd name="T37" fmla="*/ 25 h 129"/>
                <a:gd name="T38" fmla="*/ 42 w 82"/>
                <a:gd name="T39" fmla="*/ 32 h 129"/>
                <a:gd name="T40" fmla="*/ 38 w 82"/>
                <a:gd name="T41" fmla="*/ 40 h 129"/>
                <a:gd name="T42" fmla="*/ 38 w 82"/>
                <a:gd name="T43" fmla="*/ 92 h 129"/>
                <a:gd name="T44" fmla="*/ 39 w 82"/>
                <a:gd name="T45" fmla="*/ 110 h 129"/>
                <a:gd name="T46" fmla="*/ 42 w 82"/>
                <a:gd name="T47" fmla="*/ 116 h 129"/>
                <a:gd name="T48" fmla="*/ 48 w 82"/>
                <a:gd name="T49" fmla="*/ 119 h 129"/>
                <a:gd name="T50" fmla="*/ 54 w 82"/>
                <a:gd name="T51" fmla="*/ 120 h 129"/>
                <a:gd name="T52" fmla="*/ 60 w 82"/>
                <a:gd name="T53" fmla="*/ 122 h 129"/>
                <a:gd name="T54" fmla="*/ 60 w 82"/>
                <a:gd name="T55" fmla="*/ 126 h 129"/>
                <a:gd name="T56" fmla="*/ 60 w 82"/>
                <a:gd name="T57" fmla="*/ 129 h 129"/>
                <a:gd name="T58" fmla="*/ 0 w 82"/>
                <a:gd name="T59" fmla="*/ 129 h 129"/>
                <a:gd name="T60" fmla="*/ 0 w 82"/>
                <a:gd name="T61" fmla="*/ 127 h 129"/>
                <a:gd name="T62" fmla="*/ 0 w 82"/>
                <a:gd name="T63" fmla="*/ 122 h 129"/>
                <a:gd name="T64" fmla="*/ 0 w 82"/>
                <a:gd name="T65" fmla="*/ 121 h 129"/>
                <a:gd name="T66" fmla="*/ 7 w 82"/>
                <a:gd name="T67" fmla="*/ 119 h 129"/>
                <a:gd name="T68" fmla="*/ 12 w 82"/>
                <a:gd name="T69" fmla="*/ 116 h 129"/>
                <a:gd name="T70" fmla="*/ 17 w 82"/>
                <a:gd name="T71" fmla="*/ 99 h 129"/>
                <a:gd name="T72" fmla="*/ 17 w 82"/>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129">
                  <a:moveTo>
                    <a:pt x="17" y="28"/>
                  </a:moveTo>
                  <a:cubicBezTo>
                    <a:pt x="15" y="23"/>
                    <a:pt x="9" y="20"/>
                    <a:pt x="0" y="16"/>
                  </a:cubicBezTo>
                  <a:cubicBezTo>
                    <a:pt x="0" y="11"/>
                    <a:pt x="0" y="11"/>
                    <a:pt x="0" y="11"/>
                  </a:cubicBezTo>
                  <a:cubicBezTo>
                    <a:pt x="30" y="1"/>
                    <a:pt x="30" y="1"/>
                    <a:pt x="30" y="1"/>
                  </a:cubicBezTo>
                  <a:cubicBezTo>
                    <a:pt x="36" y="1"/>
                    <a:pt x="36" y="1"/>
                    <a:pt x="36" y="1"/>
                  </a:cubicBezTo>
                  <a:cubicBezTo>
                    <a:pt x="38" y="27"/>
                    <a:pt x="38" y="27"/>
                    <a:pt x="38" y="27"/>
                  </a:cubicBezTo>
                  <a:cubicBezTo>
                    <a:pt x="44" y="12"/>
                    <a:pt x="51" y="4"/>
                    <a:pt x="58" y="1"/>
                  </a:cubicBezTo>
                  <a:cubicBezTo>
                    <a:pt x="61" y="1"/>
                    <a:pt x="63" y="0"/>
                    <a:pt x="66" y="0"/>
                  </a:cubicBezTo>
                  <a:cubicBezTo>
                    <a:pt x="68" y="0"/>
                    <a:pt x="71" y="1"/>
                    <a:pt x="73" y="2"/>
                  </a:cubicBezTo>
                  <a:cubicBezTo>
                    <a:pt x="74" y="2"/>
                    <a:pt x="76" y="4"/>
                    <a:pt x="78" y="5"/>
                  </a:cubicBezTo>
                  <a:cubicBezTo>
                    <a:pt x="81" y="8"/>
                    <a:pt x="82" y="12"/>
                    <a:pt x="82" y="16"/>
                  </a:cubicBezTo>
                  <a:cubicBezTo>
                    <a:pt x="82" y="18"/>
                    <a:pt x="81" y="21"/>
                    <a:pt x="80" y="24"/>
                  </a:cubicBezTo>
                  <a:cubicBezTo>
                    <a:pt x="78" y="29"/>
                    <a:pt x="76" y="32"/>
                    <a:pt x="73" y="32"/>
                  </a:cubicBezTo>
                  <a:cubicBezTo>
                    <a:pt x="70" y="32"/>
                    <a:pt x="68" y="31"/>
                    <a:pt x="67" y="30"/>
                  </a:cubicBezTo>
                  <a:cubicBezTo>
                    <a:pt x="65" y="28"/>
                    <a:pt x="64" y="27"/>
                    <a:pt x="63" y="25"/>
                  </a:cubicBezTo>
                  <a:cubicBezTo>
                    <a:pt x="62" y="23"/>
                    <a:pt x="61" y="22"/>
                    <a:pt x="60" y="20"/>
                  </a:cubicBezTo>
                  <a:cubicBezTo>
                    <a:pt x="59" y="19"/>
                    <a:pt x="58" y="18"/>
                    <a:pt x="56" y="18"/>
                  </a:cubicBezTo>
                  <a:cubicBezTo>
                    <a:pt x="54" y="18"/>
                    <a:pt x="52" y="19"/>
                    <a:pt x="50" y="20"/>
                  </a:cubicBezTo>
                  <a:cubicBezTo>
                    <a:pt x="49" y="21"/>
                    <a:pt x="47" y="23"/>
                    <a:pt x="46" y="25"/>
                  </a:cubicBezTo>
                  <a:cubicBezTo>
                    <a:pt x="44" y="27"/>
                    <a:pt x="43" y="30"/>
                    <a:pt x="42" y="32"/>
                  </a:cubicBezTo>
                  <a:cubicBezTo>
                    <a:pt x="41" y="35"/>
                    <a:pt x="39" y="38"/>
                    <a:pt x="38" y="40"/>
                  </a:cubicBezTo>
                  <a:cubicBezTo>
                    <a:pt x="38" y="92"/>
                    <a:pt x="38" y="92"/>
                    <a:pt x="38" y="92"/>
                  </a:cubicBezTo>
                  <a:cubicBezTo>
                    <a:pt x="38" y="101"/>
                    <a:pt x="38" y="107"/>
                    <a:pt x="39" y="110"/>
                  </a:cubicBezTo>
                  <a:cubicBezTo>
                    <a:pt x="40" y="113"/>
                    <a:pt x="41" y="115"/>
                    <a:pt x="42" y="116"/>
                  </a:cubicBezTo>
                  <a:cubicBezTo>
                    <a:pt x="44" y="117"/>
                    <a:pt x="46" y="118"/>
                    <a:pt x="48" y="119"/>
                  </a:cubicBezTo>
                  <a:cubicBezTo>
                    <a:pt x="50" y="119"/>
                    <a:pt x="52" y="120"/>
                    <a:pt x="54" y="120"/>
                  </a:cubicBezTo>
                  <a:cubicBezTo>
                    <a:pt x="56" y="120"/>
                    <a:pt x="58" y="121"/>
                    <a:pt x="60" y="122"/>
                  </a:cubicBezTo>
                  <a:cubicBezTo>
                    <a:pt x="60" y="126"/>
                    <a:pt x="60" y="126"/>
                    <a:pt x="60" y="126"/>
                  </a:cubicBezTo>
                  <a:cubicBezTo>
                    <a:pt x="60" y="129"/>
                    <a:pt x="60" y="129"/>
                    <a:pt x="60" y="129"/>
                  </a:cubicBezTo>
                  <a:cubicBezTo>
                    <a:pt x="0" y="129"/>
                    <a:pt x="0" y="129"/>
                    <a:pt x="0" y="129"/>
                  </a:cubicBezTo>
                  <a:cubicBezTo>
                    <a:pt x="0" y="128"/>
                    <a:pt x="0" y="128"/>
                    <a:pt x="0" y="127"/>
                  </a:cubicBezTo>
                  <a:cubicBezTo>
                    <a:pt x="0" y="122"/>
                    <a:pt x="0" y="122"/>
                    <a:pt x="0" y="122"/>
                  </a:cubicBezTo>
                  <a:cubicBezTo>
                    <a:pt x="0" y="122"/>
                    <a:pt x="0" y="121"/>
                    <a:pt x="0" y="121"/>
                  </a:cubicBezTo>
                  <a:cubicBezTo>
                    <a:pt x="2" y="120"/>
                    <a:pt x="5" y="120"/>
                    <a:pt x="7" y="119"/>
                  </a:cubicBezTo>
                  <a:cubicBezTo>
                    <a:pt x="9" y="118"/>
                    <a:pt x="11" y="117"/>
                    <a:pt x="12"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
              <a:extLst>
                <a:ext uri="{FF2B5EF4-FFF2-40B4-BE49-F238E27FC236}">
                  <a16:creationId xmlns:a16="http://schemas.microsoft.com/office/drawing/2014/main" id="{D4E0E096-63C7-49D4-BB0B-7063EC950116}"/>
                </a:ext>
              </a:extLst>
            </p:cNvPr>
            <p:cNvSpPr>
              <a:spLocks/>
            </p:cNvSpPr>
            <p:nvPr userDrawn="1"/>
          </p:nvSpPr>
          <p:spPr bwMode="auto">
            <a:xfrm>
              <a:off x="2768" y="2315"/>
              <a:ext cx="171" cy="315"/>
            </a:xfrm>
            <a:custGeom>
              <a:avLst/>
              <a:gdLst>
                <a:gd name="T0" fmla="*/ 2 w 72"/>
                <a:gd name="T1" fmla="*/ 88 h 132"/>
                <a:gd name="T2" fmla="*/ 8 w 72"/>
                <a:gd name="T3" fmla="*/ 87 h 132"/>
                <a:gd name="T4" fmla="*/ 24 w 72"/>
                <a:gd name="T5" fmla="*/ 119 h 132"/>
                <a:gd name="T6" fmla="*/ 34 w 72"/>
                <a:gd name="T7" fmla="*/ 122 h 132"/>
                <a:gd name="T8" fmla="*/ 42 w 72"/>
                <a:gd name="T9" fmla="*/ 121 h 132"/>
                <a:gd name="T10" fmla="*/ 48 w 72"/>
                <a:gd name="T11" fmla="*/ 117 h 132"/>
                <a:gd name="T12" fmla="*/ 54 w 72"/>
                <a:gd name="T13" fmla="*/ 105 h 132"/>
                <a:gd name="T14" fmla="*/ 51 w 72"/>
                <a:gd name="T15" fmla="*/ 93 h 132"/>
                <a:gd name="T16" fmla="*/ 43 w 72"/>
                <a:gd name="T17" fmla="*/ 85 h 132"/>
                <a:gd name="T18" fmla="*/ 32 w 72"/>
                <a:gd name="T19" fmla="*/ 77 h 132"/>
                <a:gd name="T20" fmla="*/ 17 w 72"/>
                <a:gd name="T21" fmla="*/ 67 h 132"/>
                <a:gd name="T22" fmla="*/ 0 w 72"/>
                <a:gd name="T23" fmla="*/ 33 h 132"/>
                <a:gd name="T24" fmla="*/ 10 w 72"/>
                <a:gd name="T25" fmla="*/ 8 h 132"/>
                <a:gd name="T26" fmla="*/ 33 w 72"/>
                <a:gd name="T27" fmla="*/ 0 h 132"/>
                <a:gd name="T28" fmla="*/ 64 w 72"/>
                <a:gd name="T29" fmla="*/ 10 h 132"/>
                <a:gd name="T30" fmla="*/ 64 w 72"/>
                <a:gd name="T31" fmla="*/ 41 h 132"/>
                <a:gd name="T32" fmla="*/ 62 w 72"/>
                <a:gd name="T33" fmla="*/ 41 h 132"/>
                <a:gd name="T34" fmla="*/ 59 w 72"/>
                <a:gd name="T35" fmla="*/ 41 h 132"/>
                <a:gd name="T36" fmla="*/ 33 w 72"/>
                <a:gd name="T37" fmla="*/ 9 h 132"/>
                <a:gd name="T38" fmla="*/ 22 w 72"/>
                <a:gd name="T39" fmla="*/ 13 h 132"/>
                <a:gd name="T40" fmla="*/ 18 w 72"/>
                <a:gd name="T41" fmla="*/ 24 h 132"/>
                <a:gd name="T42" fmla="*/ 20 w 72"/>
                <a:gd name="T43" fmla="*/ 36 h 132"/>
                <a:gd name="T44" fmla="*/ 28 w 72"/>
                <a:gd name="T45" fmla="*/ 44 h 132"/>
                <a:gd name="T46" fmla="*/ 37 w 72"/>
                <a:gd name="T47" fmla="*/ 51 h 132"/>
                <a:gd name="T48" fmla="*/ 48 w 72"/>
                <a:gd name="T49" fmla="*/ 58 h 132"/>
                <a:gd name="T50" fmla="*/ 58 w 72"/>
                <a:gd name="T51" fmla="*/ 66 h 132"/>
                <a:gd name="T52" fmla="*/ 66 w 72"/>
                <a:gd name="T53" fmla="*/ 74 h 132"/>
                <a:gd name="T54" fmla="*/ 72 w 72"/>
                <a:gd name="T55" fmla="*/ 94 h 132"/>
                <a:gd name="T56" fmla="*/ 69 w 72"/>
                <a:gd name="T57" fmla="*/ 111 h 132"/>
                <a:gd name="T58" fmla="*/ 61 w 72"/>
                <a:gd name="T59" fmla="*/ 123 h 132"/>
                <a:gd name="T60" fmla="*/ 36 w 72"/>
                <a:gd name="T61" fmla="*/ 132 h 132"/>
                <a:gd name="T62" fmla="*/ 2 w 72"/>
                <a:gd name="T63" fmla="*/ 122 h 132"/>
                <a:gd name="T64" fmla="*/ 2 w 72"/>
                <a:gd name="T65" fmla="*/ 8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32">
                  <a:moveTo>
                    <a:pt x="2" y="88"/>
                  </a:moveTo>
                  <a:cubicBezTo>
                    <a:pt x="5" y="87"/>
                    <a:pt x="7" y="87"/>
                    <a:pt x="8" y="87"/>
                  </a:cubicBezTo>
                  <a:cubicBezTo>
                    <a:pt x="11" y="103"/>
                    <a:pt x="16" y="114"/>
                    <a:pt x="24" y="119"/>
                  </a:cubicBezTo>
                  <a:cubicBezTo>
                    <a:pt x="27" y="121"/>
                    <a:pt x="31" y="122"/>
                    <a:pt x="34" y="122"/>
                  </a:cubicBezTo>
                  <a:cubicBezTo>
                    <a:pt x="37" y="122"/>
                    <a:pt x="40" y="121"/>
                    <a:pt x="42" y="121"/>
                  </a:cubicBezTo>
                  <a:cubicBezTo>
                    <a:pt x="45" y="120"/>
                    <a:pt x="47" y="118"/>
                    <a:pt x="48" y="117"/>
                  </a:cubicBezTo>
                  <a:cubicBezTo>
                    <a:pt x="52" y="114"/>
                    <a:pt x="54" y="109"/>
                    <a:pt x="54" y="105"/>
                  </a:cubicBezTo>
                  <a:cubicBezTo>
                    <a:pt x="54" y="100"/>
                    <a:pt x="53" y="96"/>
                    <a:pt x="51" y="93"/>
                  </a:cubicBezTo>
                  <a:cubicBezTo>
                    <a:pt x="49" y="90"/>
                    <a:pt x="46" y="88"/>
                    <a:pt x="43" y="85"/>
                  </a:cubicBezTo>
                  <a:cubicBezTo>
                    <a:pt x="40" y="83"/>
                    <a:pt x="36" y="80"/>
                    <a:pt x="32" y="77"/>
                  </a:cubicBezTo>
                  <a:cubicBezTo>
                    <a:pt x="27" y="75"/>
                    <a:pt x="22" y="71"/>
                    <a:pt x="17" y="67"/>
                  </a:cubicBezTo>
                  <a:cubicBezTo>
                    <a:pt x="6" y="58"/>
                    <a:pt x="0" y="47"/>
                    <a:pt x="0" y="33"/>
                  </a:cubicBezTo>
                  <a:cubicBezTo>
                    <a:pt x="0" y="23"/>
                    <a:pt x="4" y="14"/>
                    <a:pt x="10" y="8"/>
                  </a:cubicBezTo>
                  <a:cubicBezTo>
                    <a:pt x="16" y="2"/>
                    <a:pt x="24" y="0"/>
                    <a:pt x="33" y="0"/>
                  </a:cubicBezTo>
                  <a:cubicBezTo>
                    <a:pt x="45" y="0"/>
                    <a:pt x="55" y="3"/>
                    <a:pt x="64" y="10"/>
                  </a:cubicBezTo>
                  <a:cubicBezTo>
                    <a:pt x="64" y="41"/>
                    <a:pt x="64" y="41"/>
                    <a:pt x="64" y="41"/>
                  </a:cubicBezTo>
                  <a:cubicBezTo>
                    <a:pt x="64" y="41"/>
                    <a:pt x="63" y="41"/>
                    <a:pt x="62" y="41"/>
                  </a:cubicBezTo>
                  <a:cubicBezTo>
                    <a:pt x="59" y="41"/>
                    <a:pt x="59" y="41"/>
                    <a:pt x="59" y="41"/>
                  </a:cubicBezTo>
                  <a:cubicBezTo>
                    <a:pt x="54" y="20"/>
                    <a:pt x="45" y="9"/>
                    <a:pt x="33" y="9"/>
                  </a:cubicBezTo>
                  <a:cubicBezTo>
                    <a:pt x="28" y="9"/>
                    <a:pt x="24" y="10"/>
                    <a:pt x="22" y="13"/>
                  </a:cubicBezTo>
                  <a:cubicBezTo>
                    <a:pt x="19" y="16"/>
                    <a:pt x="18" y="20"/>
                    <a:pt x="18" y="24"/>
                  </a:cubicBezTo>
                  <a:cubicBezTo>
                    <a:pt x="18" y="29"/>
                    <a:pt x="18" y="33"/>
                    <a:pt x="20" y="36"/>
                  </a:cubicBezTo>
                  <a:cubicBezTo>
                    <a:pt x="22" y="39"/>
                    <a:pt x="25" y="41"/>
                    <a:pt x="28" y="44"/>
                  </a:cubicBezTo>
                  <a:cubicBezTo>
                    <a:pt x="30" y="46"/>
                    <a:pt x="34" y="49"/>
                    <a:pt x="37" y="51"/>
                  </a:cubicBezTo>
                  <a:cubicBezTo>
                    <a:pt x="41" y="53"/>
                    <a:pt x="44" y="55"/>
                    <a:pt x="48" y="58"/>
                  </a:cubicBezTo>
                  <a:cubicBezTo>
                    <a:pt x="52" y="60"/>
                    <a:pt x="55" y="63"/>
                    <a:pt x="58" y="66"/>
                  </a:cubicBezTo>
                  <a:cubicBezTo>
                    <a:pt x="61" y="68"/>
                    <a:pt x="64" y="71"/>
                    <a:pt x="66" y="74"/>
                  </a:cubicBezTo>
                  <a:cubicBezTo>
                    <a:pt x="70" y="80"/>
                    <a:pt x="72" y="87"/>
                    <a:pt x="72" y="94"/>
                  </a:cubicBezTo>
                  <a:cubicBezTo>
                    <a:pt x="72" y="101"/>
                    <a:pt x="71" y="107"/>
                    <a:pt x="69" y="111"/>
                  </a:cubicBezTo>
                  <a:cubicBezTo>
                    <a:pt x="67" y="116"/>
                    <a:pt x="65" y="120"/>
                    <a:pt x="61" y="123"/>
                  </a:cubicBezTo>
                  <a:cubicBezTo>
                    <a:pt x="55" y="129"/>
                    <a:pt x="47" y="132"/>
                    <a:pt x="36" y="132"/>
                  </a:cubicBezTo>
                  <a:cubicBezTo>
                    <a:pt x="22" y="132"/>
                    <a:pt x="10" y="128"/>
                    <a:pt x="2" y="122"/>
                  </a:cubicBezTo>
                  <a:lnTo>
                    <a:pt x="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1">
              <a:extLst>
                <a:ext uri="{FF2B5EF4-FFF2-40B4-BE49-F238E27FC236}">
                  <a16:creationId xmlns:a16="http://schemas.microsoft.com/office/drawing/2014/main" id="{037CCCF2-A76F-44B4-887D-931806EE4D7C}"/>
                </a:ext>
              </a:extLst>
            </p:cNvPr>
            <p:cNvSpPr>
              <a:spLocks noEditPoints="1"/>
            </p:cNvSpPr>
            <p:nvPr userDrawn="1"/>
          </p:nvSpPr>
          <p:spPr bwMode="auto">
            <a:xfrm>
              <a:off x="3003" y="2315"/>
              <a:ext cx="250" cy="315"/>
            </a:xfrm>
            <a:custGeom>
              <a:avLst/>
              <a:gdLst>
                <a:gd name="T0" fmla="*/ 0 w 105"/>
                <a:gd name="T1" fmla="*/ 65 h 132"/>
                <a:gd name="T2" fmla="*/ 15 w 105"/>
                <a:gd name="T3" fmla="*/ 17 h 132"/>
                <a:gd name="T4" fmla="*/ 52 w 105"/>
                <a:gd name="T5" fmla="*/ 0 h 132"/>
                <a:gd name="T6" fmla="*/ 90 w 105"/>
                <a:gd name="T7" fmla="*/ 17 h 132"/>
                <a:gd name="T8" fmla="*/ 105 w 105"/>
                <a:gd name="T9" fmla="*/ 65 h 132"/>
                <a:gd name="T10" fmla="*/ 90 w 105"/>
                <a:gd name="T11" fmla="*/ 114 h 132"/>
                <a:gd name="T12" fmla="*/ 53 w 105"/>
                <a:gd name="T13" fmla="*/ 132 h 132"/>
                <a:gd name="T14" fmla="*/ 16 w 105"/>
                <a:gd name="T15" fmla="*/ 113 h 132"/>
                <a:gd name="T16" fmla="*/ 0 w 105"/>
                <a:gd name="T17" fmla="*/ 65 h 132"/>
                <a:gd name="T18" fmla="*/ 24 w 105"/>
                <a:gd name="T19" fmla="*/ 35 h 132"/>
                <a:gd name="T20" fmla="*/ 22 w 105"/>
                <a:gd name="T21" fmla="*/ 57 h 132"/>
                <a:gd name="T22" fmla="*/ 24 w 105"/>
                <a:gd name="T23" fmla="*/ 80 h 132"/>
                <a:gd name="T24" fmla="*/ 31 w 105"/>
                <a:gd name="T25" fmla="*/ 101 h 132"/>
                <a:gd name="T26" fmla="*/ 55 w 105"/>
                <a:gd name="T27" fmla="*/ 121 h 132"/>
                <a:gd name="T28" fmla="*/ 76 w 105"/>
                <a:gd name="T29" fmla="*/ 108 h 132"/>
                <a:gd name="T30" fmla="*/ 83 w 105"/>
                <a:gd name="T31" fmla="*/ 75 h 132"/>
                <a:gd name="T32" fmla="*/ 75 w 105"/>
                <a:gd name="T33" fmla="*/ 29 h 132"/>
                <a:gd name="T34" fmla="*/ 51 w 105"/>
                <a:gd name="T35" fmla="*/ 9 h 132"/>
                <a:gd name="T36" fmla="*/ 24 w 105"/>
                <a:gd name="T37" fmla="*/ 3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32">
                  <a:moveTo>
                    <a:pt x="0" y="65"/>
                  </a:moveTo>
                  <a:cubicBezTo>
                    <a:pt x="0" y="46"/>
                    <a:pt x="5" y="30"/>
                    <a:pt x="15" y="17"/>
                  </a:cubicBezTo>
                  <a:cubicBezTo>
                    <a:pt x="25" y="6"/>
                    <a:pt x="38" y="0"/>
                    <a:pt x="52" y="0"/>
                  </a:cubicBezTo>
                  <a:cubicBezTo>
                    <a:pt x="67" y="0"/>
                    <a:pt x="80" y="5"/>
                    <a:pt x="90" y="17"/>
                  </a:cubicBezTo>
                  <a:cubicBezTo>
                    <a:pt x="100" y="29"/>
                    <a:pt x="105" y="45"/>
                    <a:pt x="105" y="65"/>
                  </a:cubicBezTo>
                  <a:cubicBezTo>
                    <a:pt x="105" y="85"/>
                    <a:pt x="100" y="101"/>
                    <a:pt x="90" y="114"/>
                  </a:cubicBezTo>
                  <a:cubicBezTo>
                    <a:pt x="80" y="126"/>
                    <a:pt x="68" y="132"/>
                    <a:pt x="53" y="132"/>
                  </a:cubicBezTo>
                  <a:cubicBezTo>
                    <a:pt x="38" y="132"/>
                    <a:pt x="26" y="126"/>
                    <a:pt x="16" y="113"/>
                  </a:cubicBezTo>
                  <a:cubicBezTo>
                    <a:pt x="5" y="101"/>
                    <a:pt x="0" y="84"/>
                    <a:pt x="0" y="65"/>
                  </a:cubicBezTo>
                  <a:close/>
                  <a:moveTo>
                    <a:pt x="24" y="35"/>
                  </a:moveTo>
                  <a:cubicBezTo>
                    <a:pt x="23" y="41"/>
                    <a:pt x="22" y="48"/>
                    <a:pt x="22" y="57"/>
                  </a:cubicBezTo>
                  <a:cubicBezTo>
                    <a:pt x="22" y="65"/>
                    <a:pt x="23" y="73"/>
                    <a:pt x="24" y="80"/>
                  </a:cubicBezTo>
                  <a:cubicBezTo>
                    <a:pt x="26" y="88"/>
                    <a:pt x="28" y="95"/>
                    <a:pt x="31" y="101"/>
                  </a:cubicBezTo>
                  <a:cubicBezTo>
                    <a:pt x="37" y="114"/>
                    <a:pt x="45" y="121"/>
                    <a:pt x="55" y="121"/>
                  </a:cubicBezTo>
                  <a:cubicBezTo>
                    <a:pt x="64" y="121"/>
                    <a:pt x="71" y="116"/>
                    <a:pt x="76" y="108"/>
                  </a:cubicBezTo>
                  <a:cubicBezTo>
                    <a:pt x="81" y="100"/>
                    <a:pt x="83" y="89"/>
                    <a:pt x="83" y="75"/>
                  </a:cubicBezTo>
                  <a:cubicBezTo>
                    <a:pt x="83" y="56"/>
                    <a:pt x="81" y="41"/>
                    <a:pt x="75" y="29"/>
                  </a:cubicBezTo>
                  <a:cubicBezTo>
                    <a:pt x="69" y="16"/>
                    <a:pt x="61" y="9"/>
                    <a:pt x="51" y="9"/>
                  </a:cubicBezTo>
                  <a:cubicBezTo>
                    <a:pt x="38" y="9"/>
                    <a:pt x="29" y="18"/>
                    <a:pt x="24"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2">
              <a:extLst>
                <a:ext uri="{FF2B5EF4-FFF2-40B4-BE49-F238E27FC236}">
                  <a16:creationId xmlns:a16="http://schemas.microsoft.com/office/drawing/2014/main" id="{28F76D1E-1D68-4D79-9544-2E563CEBBAFD}"/>
                </a:ext>
              </a:extLst>
            </p:cNvPr>
            <p:cNvSpPr>
              <a:spLocks/>
            </p:cNvSpPr>
            <p:nvPr userDrawn="1"/>
          </p:nvSpPr>
          <p:spPr bwMode="auto">
            <a:xfrm>
              <a:off x="3302" y="2315"/>
              <a:ext cx="302" cy="308"/>
            </a:xfrm>
            <a:custGeom>
              <a:avLst/>
              <a:gdLst>
                <a:gd name="T0" fmla="*/ 68 w 127"/>
                <a:gd name="T1" fmla="*/ 15 h 129"/>
                <a:gd name="T2" fmla="*/ 38 w 127"/>
                <a:gd name="T3" fmla="*/ 36 h 129"/>
                <a:gd name="T4" fmla="*/ 38 w 127"/>
                <a:gd name="T5" fmla="*/ 98 h 129"/>
                <a:gd name="T6" fmla="*/ 50 w 127"/>
                <a:gd name="T7" fmla="*/ 120 h 129"/>
                <a:gd name="T8" fmla="*/ 58 w 127"/>
                <a:gd name="T9" fmla="*/ 122 h 129"/>
                <a:gd name="T10" fmla="*/ 58 w 127"/>
                <a:gd name="T11" fmla="*/ 129 h 129"/>
                <a:gd name="T12" fmla="*/ 0 w 127"/>
                <a:gd name="T13" fmla="*/ 129 h 129"/>
                <a:gd name="T14" fmla="*/ 0 w 127"/>
                <a:gd name="T15" fmla="*/ 128 h 129"/>
                <a:gd name="T16" fmla="*/ 0 w 127"/>
                <a:gd name="T17" fmla="*/ 123 h 129"/>
                <a:gd name="T18" fmla="*/ 0 w 127"/>
                <a:gd name="T19" fmla="*/ 121 h 129"/>
                <a:gd name="T20" fmla="*/ 12 w 127"/>
                <a:gd name="T21" fmla="*/ 116 h 129"/>
                <a:gd name="T22" fmla="*/ 18 w 127"/>
                <a:gd name="T23" fmla="*/ 103 h 129"/>
                <a:gd name="T24" fmla="*/ 18 w 127"/>
                <a:gd name="T25" fmla="*/ 27 h 129"/>
                <a:gd name="T26" fmla="*/ 0 w 127"/>
                <a:gd name="T27" fmla="*/ 16 h 129"/>
                <a:gd name="T28" fmla="*/ 0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0 w 127"/>
                <a:gd name="T45" fmla="*/ 64 h 129"/>
                <a:gd name="T46" fmla="*/ 110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1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89 w 127"/>
                <a:gd name="T75" fmla="*/ 97 h 129"/>
                <a:gd name="T76" fmla="*/ 89 w 127"/>
                <a:gd name="T77" fmla="*/ 66 h 129"/>
                <a:gd name="T78" fmla="*/ 87 w 127"/>
                <a:gd name="T79" fmla="*/ 31 h 129"/>
                <a:gd name="T80" fmla="*/ 80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8" y="36"/>
                  </a:cubicBezTo>
                  <a:cubicBezTo>
                    <a:pt x="38" y="98"/>
                    <a:pt x="38" y="98"/>
                    <a:pt x="38" y="98"/>
                  </a:cubicBezTo>
                  <a:cubicBezTo>
                    <a:pt x="38" y="110"/>
                    <a:pt x="42" y="117"/>
                    <a:pt x="50" y="120"/>
                  </a:cubicBezTo>
                  <a:cubicBezTo>
                    <a:pt x="52" y="121"/>
                    <a:pt x="55" y="122"/>
                    <a:pt x="58" y="122"/>
                  </a:cubicBezTo>
                  <a:cubicBezTo>
                    <a:pt x="58" y="129"/>
                    <a:pt x="58" y="129"/>
                    <a:pt x="58" y="129"/>
                  </a:cubicBezTo>
                  <a:cubicBezTo>
                    <a:pt x="0" y="129"/>
                    <a:pt x="0" y="129"/>
                    <a:pt x="0" y="129"/>
                  </a:cubicBezTo>
                  <a:cubicBezTo>
                    <a:pt x="0" y="129"/>
                    <a:pt x="0" y="128"/>
                    <a:pt x="0" y="128"/>
                  </a:cubicBezTo>
                  <a:cubicBezTo>
                    <a:pt x="0" y="123"/>
                    <a:pt x="0" y="123"/>
                    <a:pt x="0" y="123"/>
                  </a:cubicBezTo>
                  <a:cubicBezTo>
                    <a:pt x="0" y="122"/>
                    <a:pt x="0" y="122"/>
                    <a:pt x="0" y="121"/>
                  </a:cubicBezTo>
                  <a:cubicBezTo>
                    <a:pt x="7" y="119"/>
                    <a:pt x="11" y="118"/>
                    <a:pt x="12" y="116"/>
                  </a:cubicBezTo>
                  <a:cubicBezTo>
                    <a:pt x="16" y="114"/>
                    <a:pt x="18" y="109"/>
                    <a:pt x="18" y="103"/>
                  </a:cubicBezTo>
                  <a:cubicBezTo>
                    <a:pt x="18" y="27"/>
                    <a:pt x="18" y="27"/>
                    <a:pt x="18" y="27"/>
                  </a:cubicBezTo>
                  <a:cubicBezTo>
                    <a:pt x="16" y="23"/>
                    <a:pt x="10" y="19"/>
                    <a:pt x="0" y="16"/>
                  </a:cubicBezTo>
                  <a:cubicBezTo>
                    <a:pt x="0" y="11"/>
                    <a:pt x="0" y="11"/>
                    <a:pt x="0"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09" y="30"/>
                    <a:pt x="110" y="45"/>
                  </a:cubicBezTo>
                  <a:cubicBezTo>
                    <a:pt x="110" y="51"/>
                    <a:pt x="110" y="57"/>
                    <a:pt x="110" y="64"/>
                  </a:cubicBezTo>
                  <a:cubicBezTo>
                    <a:pt x="110" y="95"/>
                    <a:pt x="110" y="95"/>
                    <a:pt x="110" y="95"/>
                  </a:cubicBezTo>
                  <a:cubicBezTo>
                    <a:pt x="110" y="105"/>
                    <a:pt x="111" y="112"/>
                    <a:pt x="114" y="115"/>
                  </a:cubicBezTo>
                  <a:cubicBezTo>
                    <a:pt x="115" y="117"/>
                    <a:pt x="117" y="118"/>
                    <a:pt x="119" y="118"/>
                  </a:cubicBezTo>
                  <a:cubicBezTo>
                    <a:pt x="121" y="119"/>
                    <a:pt x="123"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1" y="129"/>
                    <a:pt x="71" y="129"/>
                    <a:pt x="71" y="129"/>
                  </a:cubicBezTo>
                  <a:cubicBezTo>
                    <a:pt x="71" y="128"/>
                    <a:pt x="71" y="127"/>
                    <a:pt x="71" y="125"/>
                  </a:cubicBezTo>
                  <a:cubicBezTo>
                    <a:pt x="71" y="122"/>
                    <a:pt x="71" y="122"/>
                    <a:pt x="71" y="122"/>
                  </a:cubicBezTo>
                  <a:cubicBezTo>
                    <a:pt x="73" y="121"/>
                    <a:pt x="74" y="121"/>
                    <a:pt x="76" y="120"/>
                  </a:cubicBezTo>
                  <a:cubicBezTo>
                    <a:pt x="78" y="120"/>
                    <a:pt x="80" y="119"/>
                    <a:pt x="82" y="118"/>
                  </a:cubicBezTo>
                  <a:cubicBezTo>
                    <a:pt x="86" y="116"/>
                    <a:pt x="88" y="112"/>
                    <a:pt x="89" y="108"/>
                  </a:cubicBezTo>
                  <a:cubicBezTo>
                    <a:pt x="89" y="105"/>
                    <a:pt x="89" y="102"/>
                    <a:pt x="89" y="97"/>
                  </a:cubicBezTo>
                  <a:cubicBezTo>
                    <a:pt x="89" y="66"/>
                    <a:pt x="89" y="66"/>
                    <a:pt x="89" y="66"/>
                  </a:cubicBezTo>
                  <a:cubicBezTo>
                    <a:pt x="89" y="48"/>
                    <a:pt x="89" y="36"/>
                    <a:pt x="87" y="31"/>
                  </a:cubicBezTo>
                  <a:cubicBezTo>
                    <a:pt x="86" y="25"/>
                    <a:pt x="83" y="21"/>
                    <a:pt x="80" y="19"/>
                  </a:cubicBezTo>
                  <a:cubicBezTo>
                    <a:pt x="78" y="16"/>
                    <a:pt x="73"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3">
              <a:extLst>
                <a:ext uri="{FF2B5EF4-FFF2-40B4-BE49-F238E27FC236}">
                  <a16:creationId xmlns:a16="http://schemas.microsoft.com/office/drawing/2014/main" id="{DEAD0C23-2BD3-4C7A-BC26-2B96A0C53E35}"/>
                </a:ext>
              </a:extLst>
            </p:cNvPr>
            <p:cNvSpPr>
              <a:spLocks/>
            </p:cNvSpPr>
            <p:nvPr userDrawn="1"/>
          </p:nvSpPr>
          <p:spPr bwMode="auto">
            <a:xfrm>
              <a:off x="3879" y="2189"/>
              <a:ext cx="477" cy="434"/>
            </a:xfrm>
            <a:custGeom>
              <a:avLst/>
              <a:gdLst>
                <a:gd name="T0" fmla="*/ 177 w 201"/>
                <a:gd name="T1" fmla="*/ 144 h 182"/>
                <a:gd name="T2" fmla="*/ 183 w 201"/>
                <a:gd name="T3" fmla="*/ 165 h 182"/>
                <a:gd name="T4" fmla="*/ 191 w 201"/>
                <a:gd name="T5" fmla="*/ 171 h 182"/>
                <a:gd name="T6" fmla="*/ 201 w 201"/>
                <a:gd name="T7" fmla="*/ 174 h 182"/>
                <a:gd name="T8" fmla="*/ 200 w 201"/>
                <a:gd name="T9" fmla="*/ 182 h 182"/>
                <a:gd name="T10" fmla="*/ 133 w 201"/>
                <a:gd name="T11" fmla="*/ 182 h 182"/>
                <a:gd name="T12" fmla="*/ 133 w 201"/>
                <a:gd name="T13" fmla="*/ 174 h 182"/>
                <a:gd name="T14" fmla="*/ 140 w 201"/>
                <a:gd name="T15" fmla="*/ 172 h 182"/>
                <a:gd name="T16" fmla="*/ 147 w 201"/>
                <a:gd name="T17" fmla="*/ 168 h 182"/>
                <a:gd name="T18" fmla="*/ 154 w 201"/>
                <a:gd name="T19" fmla="*/ 152 h 182"/>
                <a:gd name="T20" fmla="*/ 147 w 201"/>
                <a:gd name="T21" fmla="*/ 33 h 182"/>
                <a:gd name="T22" fmla="*/ 106 w 201"/>
                <a:gd name="T23" fmla="*/ 153 h 182"/>
                <a:gd name="T24" fmla="*/ 98 w 201"/>
                <a:gd name="T25" fmla="*/ 182 h 182"/>
                <a:gd name="T26" fmla="*/ 90 w 201"/>
                <a:gd name="T27" fmla="*/ 182 h 182"/>
                <a:gd name="T28" fmla="*/ 78 w 201"/>
                <a:gd name="T29" fmla="*/ 149 h 182"/>
                <a:gd name="T30" fmla="*/ 66 w 201"/>
                <a:gd name="T31" fmla="*/ 116 h 182"/>
                <a:gd name="T32" fmla="*/ 56 w 201"/>
                <a:gd name="T33" fmla="*/ 90 h 182"/>
                <a:gd name="T34" fmla="*/ 39 w 201"/>
                <a:gd name="T35" fmla="*/ 38 h 182"/>
                <a:gd name="T36" fmla="*/ 37 w 201"/>
                <a:gd name="T37" fmla="*/ 66 h 182"/>
                <a:gd name="T38" fmla="*/ 35 w 201"/>
                <a:gd name="T39" fmla="*/ 94 h 182"/>
                <a:gd name="T40" fmla="*/ 32 w 201"/>
                <a:gd name="T41" fmla="*/ 142 h 182"/>
                <a:gd name="T42" fmla="*/ 34 w 201"/>
                <a:gd name="T43" fmla="*/ 160 h 182"/>
                <a:gd name="T44" fmla="*/ 38 w 201"/>
                <a:gd name="T45" fmla="*/ 167 h 182"/>
                <a:gd name="T46" fmla="*/ 45 w 201"/>
                <a:gd name="T47" fmla="*/ 171 h 182"/>
                <a:gd name="T48" fmla="*/ 53 w 201"/>
                <a:gd name="T49" fmla="*/ 174 h 182"/>
                <a:gd name="T50" fmla="*/ 52 w 201"/>
                <a:gd name="T51" fmla="*/ 182 h 182"/>
                <a:gd name="T52" fmla="*/ 0 w 201"/>
                <a:gd name="T53" fmla="*/ 182 h 182"/>
                <a:gd name="T54" fmla="*/ 0 w 201"/>
                <a:gd name="T55" fmla="*/ 174 h 182"/>
                <a:gd name="T56" fmla="*/ 7 w 201"/>
                <a:gd name="T57" fmla="*/ 171 h 182"/>
                <a:gd name="T58" fmla="*/ 14 w 201"/>
                <a:gd name="T59" fmla="*/ 167 h 182"/>
                <a:gd name="T60" fmla="*/ 22 w 201"/>
                <a:gd name="T61" fmla="*/ 151 h 182"/>
                <a:gd name="T62" fmla="*/ 30 w 201"/>
                <a:gd name="T63" fmla="*/ 47 h 182"/>
                <a:gd name="T64" fmla="*/ 31 w 201"/>
                <a:gd name="T65" fmla="*/ 29 h 182"/>
                <a:gd name="T66" fmla="*/ 29 w 201"/>
                <a:gd name="T67" fmla="*/ 19 h 182"/>
                <a:gd name="T68" fmla="*/ 24 w 201"/>
                <a:gd name="T69" fmla="*/ 14 h 182"/>
                <a:gd name="T70" fmla="*/ 18 w 201"/>
                <a:gd name="T71" fmla="*/ 11 h 182"/>
                <a:gd name="T72" fmla="*/ 11 w 201"/>
                <a:gd name="T73" fmla="*/ 7 h 182"/>
                <a:gd name="T74" fmla="*/ 11 w 201"/>
                <a:gd name="T75" fmla="*/ 0 h 182"/>
                <a:gd name="T76" fmla="*/ 53 w 201"/>
                <a:gd name="T77" fmla="*/ 0 h 182"/>
                <a:gd name="T78" fmla="*/ 62 w 201"/>
                <a:gd name="T79" fmla="*/ 37 h 182"/>
                <a:gd name="T80" fmla="*/ 101 w 201"/>
                <a:gd name="T81" fmla="*/ 144 h 182"/>
                <a:gd name="T82" fmla="*/ 139 w 201"/>
                <a:gd name="T83" fmla="*/ 31 h 182"/>
                <a:gd name="T84" fmla="*/ 144 w 201"/>
                <a:gd name="T85" fmla="*/ 0 h 182"/>
                <a:gd name="T86" fmla="*/ 189 w 201"/>
                <a:gd name="T87" fmla="*/ 0 h 182"/>
                <a:gd name="T88" fmla="*/ 189 w 201"/>
                <a:gd name="T89" fmla="*/ 7 h 182"/>
                <a:gd name="T90" fmla="*/ 175 w 201"/>
                <a:gd name="T91" fmla="*/ 15 h 182"/>
                <a:gd name="T92" fmla="*/ 169 w 201"/>
                <a:gd name="T93" fmla="*/ 31 h 182"/>
                <a:gd name="T94" fmla="*/ 177 w 201"/>
                <a:gd name="T95" fmla="*/ 14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182">
                  <a:moveTo>
                    <a:pt x="177" y="144"/>
                  </a:moveTo>
                  <a:cubicBezTo>
                    <a:pt x="178" y="154"/>
                    <a:pt x="180" y="161"/>
                    <a:pt x="183" y="165"/>
                  </a:cubicBezTo>
                  <a:cubicBezTo>
                    <a:pt x="184" y="169"/>
                    <a:pt x="186" y="171"/>
                    <a:pt x="191" y="171"/>
                  </a:cubicBezTo>
                  <a:cubicBezTo>
                    <a:pt x="196" y="172"/>
                    <a:pt x="199" y="173"/>
                    <a:pt x="201" y="174"/>
                  </a:cubicBezTo>
                  <a:cubicBezTo>
                    <a:pt x="200" y="182"/>
                    <a:pt x="200" y="182"/>
                    <a:pt x="200" y="182"/>
                  </a:cubicBezTo>
                  <a:cubicBezTo>
                    <a:pt x="133" y="182"/>
                    <a:pt x="133" y="182"/>
                    <a:pt x="133" y="182"/>
                  </a:cubicBezTo>
                  <a:cubicBezTo>
                    <a:pt x="133" y="174"/>
                    <a:pt x="133" y="174"/>
                    <a:pt x="133" y="174"/>
                  </a:cubicBezTo>
                  <a:cubicBezTo>
                    <a:pt x="135" y="174"/>
                    <a:pt x="138" y="173"/>
                    <a:pt x="140" y="172"/>
                  </a:cubicBezTo>
                  <a:cubicBezTo>
                    <a:pt x="143" y="171"/>
                    <a:pt x="145" y="169"/>
                    <a:pt x="147" y="168"/>
                  </a:cubicBezTo>
                  <a:cubicBezTo>
                    <a:pt x="152" y="164"/>
                    <a:pt x="154" y="159"/>
                    <a:pt x="154" y="152"/>
                  </a:cubicBezTo>
                  <a:cubicBezTo>
                    <a:pt x="147" y="33"/>
                    <a:pt x="147" y="33"/>
                    <a:pt x="147" y="33"/>
                  </a:cubicBezTo>
                  <a:cubicBezTo>
                    <a:pt x="106" y="153"/>
                    <a:pt x="106" y="153"/>
                    <a:pt x="106" y="153"/>
                  </a:cubicBezTo>
                  <a:cubicBezTo>
                    <a:pt x="104" y="160"/>
                    <a:pt x="101" y="169"/>
                    <a:pt x="98" y="182"/>
                  </a:cubicBezTo>
                  <a:cubicBezTo>
                    <a:pt x="90" y="182"/>
                    <a:pt x="90" y="182"/>
                    <a:pt x="90" y="182"/>
                  </a:cubicBezTo>
                  <a:cubicBezTo>
                    <a:pt x="87" y="174"/>
                    <a:pt x="83" y="163"/>
                    <a:pt x="78" y="149"/>
                  </a:cubicBezTo>
                  <a:cubicBezTo>
                    <a:pt x="73" y="135"/>
                    <a:pt x="69" y="124"/>
                    <a:pt x="66" y="116"/>
                  </a:cubicBezTo>
                  <a:cubicBezTo>
                    <a:pt x="63" y="107"/>
                    <a:pt x="59" y="98"/>
                    <a:pt x="56" y="90"/>
                  </a:cubicBezTo>
                  <a:cubicBezTo>
                    <a:pt x="49" y="68"/>
                    <a:pt x="43" y="51"/>
                    <a:pt x="39" y="38"/>
                  </a:cubicBezTo>
                  <a:cubicBezTo>
                    <a:pt x="38" y="47"/>
                    <a:pt x="38" y="57"/>
                    <a:pt x="37" y="66"/>
                  </a:cubicBezTo>
                  <a:cubicBezTo>
                    <a:pt x="36" y="75"/>
                    <a:pt x="35" y="84"/>
                    <a:pt x="35" y="94"/>
                  </a:cubicBezTo>
                  <a:cubicBezTo>
                    <a:pt x="33" y="117"/>
                    <a:pt x="32" y="133"/>
                    <a:pt x="32" y="142"/>
                  </a:cubicBezTo>
                  <a:cubicBezTo>
                    <a:pt x="32" y="152"/>
                    <a:pt x="33" y="158"/>
                    <a:pt x="34" y="160"/>
                  </a:cubicBezTo>
                  <a:cubicBezTo>
                    <a:pt x="35" y="163"/>
                    <a:pt x="36" y="165"/>
                    <a:pt x="38" y="167"/>
                  </a:cubicBezTo>
                  <a:cubicBezTo>
                    <a:pt x="40" y="169"/>
                    <a:pt x="42" y="170"/>
                    <a:pt x="45" y="171"/>
                  </a:cubicBezTo>
                  <a:cubicBezTo>
                    <a:pt x="47" y="172"/>
                    <a:pt x="50" y="173"/>
                    <a:pt x="53" y="174"/>
                  </a:cubicBezTo>
                  <a:cubicBezTo>
                    <a:pt x="52" y="182"/>
                    <a:pt x="52" y="182"/>
                    <a:pt x="52" y="182"/>
                  </a:cubicBezTo>
                  <a:cubicBezTo>
                    <a:pt x="0" y="182"/>
                    <a:pt x="0" y="182"/>
                    <a:pt x="0" y="182"/>
                  </a:cubicBezTo>
                  <a:cubicBezTo>
                    <a:pt x="0" y="174"/>
                    <a:pt x="0" y="174"/>
                    <a:pt x="0" y="174"/>
                  </a:cubicBezTo>
                  <a:cubicBezTo>
                    <a:pt x="3" y="173"/>
                    <a:pt x="5" y="172"/>
                    <a:pt x="7" y="171"/>
                  </a:cubicBezTo>
                  <a:cubicBezTo>
                    <a:pt x="10" y="170"/>
                    <a:pt x="12" y="169"/>
                    <a:pt x="14" y="167"/>
                  </a:cubicBezTo>
                  <a:cubicBezTo>
                    <a:pt x="19" y="164"/>
                    <a:pt x="21" y="159"/>
                    <a:pt x="22" y="151"/>
                  </a:cubicBezTo>
                  <a:cubicBezTo>
                    <a:pt x="30" y="47"/>
                    <a:pt x="30" y="47"/>
                    <a:pt x="30" y="47"/>
                  </a:cubicBezTo>
                  <a:cubicBezTo>
                    <a:pt x="31" y="40"/>
                    <a:pt x="31" y="34"/>
                    <a:pt x="31" y="29"/>
                  </a:cubicBezTo>
                  <a:cubicBezTo>
                    <a:pt x="31" y="25"/>
                    <a:pt x="30" y="21"/>
                    <a:pt x="29" y="19"/>
                  </a:cubicBezTo>
                  <a:cubicBezTo>
                    <a:pt x="28" y="17"/>
                    <a:pt x="26" y="15"/>
                    <a:pt x="24" y="14"/>
                  </a:cubicBezTo>
                  <a:cubicBezTo>
                    <a:pt x="22" y="12"/>
                    <a:pt x="20" y="11"/>
                    <a:pt x="18" y="11"/>
                  </a:cubicBezTo>
                  <a:cubicBezTo>
                    <a:pt x="15" y="10"/>
                    <a:pt x="13" y="9"/>
                    <a:pt x="11" y="7"/>
                  </a:cubicBezTo>
                  <a:cubicBezTo>
                    <a:pt x="11" y="0"/>
                    <a:pt x="11" y="0"/>
                    <a:pt x="11" y="0"/>
                  </a:cubicBezTo>
                  <a:cubicBezTo>
                    <a:pt x="53" y="0"/>
                    <a:pt x="53" y="0"/>
                    <a:pt x="53" y="0"/>
                  </a:cubicBezTo>
                  <a:cubicBezTo>
                    <a:pt x="56" y="16"/>
                    <a:pt x="59" y="29"/>
                    <a:pt x="62" y="37"/>
                  </a:cubicBezTo>
                  <a:cubicBezTo>
                    <a:pt x="101" y="144"/>
                    <a:pt x="101" y="144"/>
                    <a:pt x="101" y="144"/>
                  </a:cubicBezTo>
                  <a:cubicBezTo>
                    <a:pt x="139" y="31"/>
                    <a:pt x="139" y="31"/>
                    <a:pt x="139" y="31"/>
                  </a:cubicBezTo>
                  <a:cubicBezTo>
                    <a:pt x="143" y="21"/>
                    <a:pt x="144" y="10"/>
                    <a:pt x="144" y="0"/>
                  </a:cubicBezTo>
                  <a:cubicBezTo>
                    <a:pt x="189" y="0"/>
                    <a:pt x="189" y="0"/>
                    <a:pt x="189" y="0"/>
                  </a:cubicBezTo>
                  <a:cubicBezTo>
                    <a:pt x="189" y="7"/>
                    <a:pt x="189" y="7"/>
                    <a:pt x="189" y="7"/>
                  </a:cubicBezTo>
                  <a:cubicBezTo>
                    <a:pt x="182" y="10"/>
                    <a:pt x="177" y="13"/>
                    <a:pt x="175" y="15"/>
                  </a:cubicBezTo>
                  <a:cubicBezTo>
                    <a:pt x="171" y="19"/>
                    <a:pt x="169" y="24"/>
                    <a:pt x="169" y="31"/>
                  </a:cubicBezTo>
                  <a:lnTo>
                    <a:pt x="17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4">
              <a:extLst>
                <a:ext uri="{FF2B5EF4-FFF2-40B4-BE49-F238E27FC236}">
                  <a16:creationId xmlns:a16="http://schemas.microsoft.com/office/drawing/2014/main" id="{7E1ED42C-5376-41AD-8272-B045C53FC0FE}"/>
                </a:ext>
              </a:extLst>
            </p:cNvPr>
            <p:cNvSpPr>
              <a:spLocks noEditPoints="1"/>
            </p:cNvSpPr>
            <p:nvPr userDrawn="1"/>
          </p:nvSpPr>
          <p:spPr bwMode="auto">
            <a:xfrm>
              <a:off x="4389" y="2315"/>
              <a:ext cx="228" cy="315"/>
            </a:xfrm>
            <a:custGeom>
              <a:avLst/>
              <a:gdLst>
                <a:gd name="T0" fmla="*/ 58 w 96"/>
                <a:gd name="T1" fmla="*/ 111 h 132"/>
                <a:gd name="T2" fmla="*/ 25 w 96"/>
                <a:gd name="T3" fmla="*/ 132 h 132"/>
                <a:gd name="T4" fmla="*/ 2 w 96"/>
                <a:gd name="T5" fmla="*/ 116 h 132"/>
                <a:gd name="T6" fmla="*/ 0 w 96"/>
                <a:gd name="T7" fmla="*/ 103 h 132"/>
                <a:gd name="T8" fmla="*/ 3 w 96"/>
                <a:gd name="T9" fmla="*/ 90 h 132"/>
                <a:gd name="T10" fmla="*/ 11 w 96"/>
                <a:gd name="T11" fmla="*/ 79 h 132"/>
                <a:gd name="T12" fmla="*/ 22 w 96"/>
                <a:gd name="T13" fmla="*/ 71 h 132"/>
                <a:gd name="T14" fmla="*/ 35 w 96"/>
                <a:gd name="T15" fmla="*/ 65 h 132"/>
                <a:gd name="T16" fmla="*/ 47 w 96"/>
                <a:gd name="T17" fmla="*/ 60 h 132"/>
                <a:gd name="T18" fmla="*/ 58 w 96"/>
                <a:gd name="T19" fmla="*/ 57 h 132"/>
                <a:gd name="T20" fmla="*/ 58 w 96"/>
                <a:gd name="T21" fmla="*/ 44 h 132"/>
                <a:gd name="T22" fmla="*/ 55 w 96"/>
                <a:gd name="T23" fmla="*/ 22 h 132"/>
                <a:gd name="T24" fmla="*/ 48 w 96"/>
                <a:gd name="T25" fmla="*/ 13 h 132"/>
                <a:gd name="T26" fmla="*/ 40 w 96"/>
                <a:gd name="T27" fmla="*/ 10 h 132"/>
                <a:gd name="T28" fmla="*/ 33 w 96"/>
                <a:gd name="T29" fmla="*/ 11 h 132"/>
                <a:gd name="T30" fmla="*/ 28 w 96"/>
                <a:gd name="T31" fmla="*/ 13 h 132"/>
                <a:gd name="T32" fmla="*/ 21 w 96"/>
                <a:gd name="T33" fmla="*/ 22 h 132"/>
                <a:gd name="T34" fmla="*/ 22 w 96"/>
                <a:gd name="T35" fmla="*/ 28 h 132"/>
                <a:gd name="T36" fmla="*/ 25 w 96"/>
                <a:gd name="T37" fmla="*/ 38 h 132"/>
                <a:gd name="T38" fmla="*/ 22 w 96"/>
                <a:gd name="T39" fmla="*/ 45 h 132"/>
                <a:gd name="T40" fmla="*/ 16 w 96"/>
                <a:gd name="T41" fmla="*/ 49 h 132"/>
                <a:gd name="T42" fmla="*/ 10 w 96"/>
                <a:gd name="T43" fmla="*/ 48 h 132"/>
                <a:gd name="T44" fmla="*/ 6 w 96"/>
                <a:gd name="T45" fmla="*/ 44 h 132"/>
                <a:gd name="T46" fmla="*/ 3 w 96"/>
                <a:gd name="T47" fmla="*/ 32 h 132"/>
                <a:gd name="T48" fmla="*/ 5 w 96"/>
                <a:gd name="T49" fmla="*/ 21 h 132"/>
                <a:gd name="T50" fmla="*/ 10 w 96"/>
                <a:gd name="T51" fmla="*/ 13 h 132"/>
                <a:gd name="T52" fmla="*/ 18 w 96"/>
                <a:gd name="T53" fmla="*/ 7 h 132"/>
                <a:gd name="T54" fmla="*/ 26 w 96"/>
                <a:gd name="T55" fmla="*/ 3 h 132"/>
                <a:gd name="T56" fmla="*/ 45 w 96"/>
                <a:gd name="T57" fmla="*/ 0 h 132"/>
                <a:gd name="T58" fmla="*/ 62 w 96"/>
                <a:gd name="T59" fmla="*/ 3 h 132"/>
                <a:gd name="T60" fmla="*/ 72 w 96"/>
                <a:gd name="T61" fmla="*/ 13 h 132"/>
                <a:gd name="T62" fmla="*/ 77 w 96"/>
                <a:gd name="T63" fmla="*/ 30 h 132"/>
                <a:gd name="T64" fmla="*/ 78 w 96"/>
                <a:gd name="T65" fmla="*/ 53 h 132"/>
                <a:gd name="T66" fmla="*/ 77 w 96"/>
                <a:gd name="T67" fmla="*/ 84 h 132"/>
                <a:gd name="T68" fmla="*/ 82 w 96"/>
                <a:gd name="T69" fmla="*/ 115 h 132"/>
                <a:gd name="T70" fmla="*/ 92 w 96"/>
                <a:gd name="T71" fmla="*/ 105 h 132"/>
                <a:gd name="T72" fmla="*/ 96 w 96"/>
                <a:gd name="T73" fmla="*/ 112 h 132"/>
                <a:gd name="T74" fmla="*/ 88 w 96"/>
                <a:gd name="T75" fmla="*/ 126 h 132"/>
                <a:gd name="T76" fmla="*/ 75 w 96"/>
                <a:gd name="T77" fmla="*/ 132 h 132"/>
                <a:gd name="T78" fmla="*/ 63 w 96"/>
                <a:gd name="T79" fmla="*/ 126 h 132"/>
                <a:gd name="T80" fmla="*/ 58 w 96"/>
                <a:gd name="T81" fmla="*/ 111 h 132"/>
                <a:gd name="T82" fmla="*/ 34 w 96"/>
                <a:gd name="T83" fmla="*/ 116 h 132"/>
                <a:gd name="T84" fmla="*/ 58 w 96"/>
                <a:gd name="T85" fmla="*/ 101 h 132"/>
                <a:gd name="T86" fmla="*/ 58 w 96"/>
                <a:gd name="T87" fmla="*/ 65 h 132"/>
                <a:gd name="T88" fmla="*/ 51 w 96"/>
                <a:gd name="T89" fmla="*/ 68 h 132"/>
                <a:gd name="T90" fmla="*/ 43 w 96"/>
                <a:gd name="T91" fmla="*/ 72 h 132"/>
                <a:gd name="T92" fmla="*/ 35 w 96"/>
                <a:gd name="T93" fmla="*/ 76 h 132"/>
                <a:gd name="T94" fmla="*/ 28 w 96"/>
                <a:gd name="T95" fmla="*/ 82 h 132"/>
                <a:gd name="T96" fmla="*/ 21 w 96"/>
                <a:gd name="T97" fmla="*/ 98 h 132"/>
                <a:gd name="T98" fmla="*/ 24 w 96"/>
                <a:gd name="T99" fmla="*/ 111 h 132"/>
                <a:gd name="T100" fmla="*/ 34 w 96"/>
                <a:gd name="T10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32">
                  <a:moveTo>
                    <a:pt x="58" y="111"/>
                  </a:moveTo>
                  <a:cubicBezTo>
                    <a:pt x="48" y="125"/>
                    <a:pt x="37" y="132"/>
                    <a:pt x="25" y="132"/>
                  </a:cubicBezTo>
                  <a:cubicBezTo>
                    <a:pt x="14" y="132"/>
                    <a:pt x="6" y="126"/>
                    <a:pt x="2" y="116"/>
                  </a:cubicBezTo>
                  <a:cubicBezTo>
                    <a:pt x="1" y="113"/>
                    <a:pt x="0" y="108"/>
                    <a:pt x="0" y="103"/>
                  </a:cubicBezTo>
                  <a:cubicBezTo>
                    <a:pt x="0" y="98"/>
                    <a:pt x="1" y="94"/>
                    <a:pt x="3" y="90"/>
                  </a:cubicBezTo>
                  <a:cubicBezTo>
                    <a:pt x="5" y="85"/>
                    <a:pt x="8" y="82"/>
                    <a:pt x="11" y="79"/>
                  </a:cubicBezTo>
                  <a:cubicBezTo>
                    <a:pt x="14" y="76"/>
                    <a:pt x="18" y="73"/>
                    <a:pt x="22" y="71"/>
                  </a:cubicBezTo>
                  <a:cubicBezTo>
                    <a:pt x="26" y="68"/>
                    <a:pt x="30" y="66"/>
                    <a:pt x="35" y="65"/>
                  </a:cubicBezTo>
                  <a:cubicBezTo>
                    <a:pt x="39" y="63"/>
                    <a:pt x="43" y="62"/>
                    <a:pt x="47" y="60"/>
                  </a:cubicBezTo>
                  <a:cubicBezTo>
                    <a:pt x="51" y="59"/>
                    <a:pt x="55" y="58"/>
                    <a:pt x="58" y="57"/>
                  </a:cubicBezTo>
                  <a:cubicBezTo>
                    <a:pt x="58" y="44"/>
                    <a:pt x="58" y="44"/>
                    <a:pt x="58" y="44"/>
                  </a:cubicBezTo>
                  <a:cubicBezTo>
                    <a:pt x="58" y="33"/>
                    <a:pt x="57" y="26"/>
                    <a:pt x="55" y="22"/>
                  </a:cubicBezTo>
                  <a:cubicBezTo>
                    <a:pt x="53" y="17"/>
                    <a:pt x="51" y="14"/>
                    <a:pt x="48" y="13"/>
                  </a:cubicBezTo>
                  <a:cubicBezTo>
                    <a:pt x="46" y="11"/>
                    <a:pt x="43" y="10"/>
                    <a:pt x="40" y="10"/>
                  </a:cubicBezTo>
                  <a:cubicBezTo>
                    <a:pt x="38" y="10"/>
                    <a:pt x="35" y="10"/>
                    <a:pt x="33" y="11"/>
                  </a:cubicBezTo>
                  <a:cubicBezTo>
                    <a:pt x="31" y="11"/>
                    <a:pt x="30" y="12"/>
                    <a:pt x="28" y="13"/>
                  </a:cubicBezTo>
                  <a:cubicBezTo>
                    <a:pt x="23" y="16"/>
                    <a:pt x="21" y="19"/>
                    <a:pt x="21" y="22"/>
                  </a:cubicBezTo>
                  <a:cubicBezTo>
                    <a:pt x="21" y="24"/>
                    <a:pt x="21" y="26"/>
                    <a:pt x="22" y="28"/>
                  </a:cubicBezTo>
                  <a:cubicBezTo>
                    <a:pt x="24" y="32"/>
                    <a:pt x="25" y="35"/>
                    <a:pt x="25" y="38"/>
                  </a:cubicBezTo>
                  <a:cubicBezTo>
                    <a:pt x="25" y="40"/>
                    <a:pt x="24" y="43"/>
                    <a:pt x="22" y="45"/>
                  </a:cubicBezTo>
                  <a:cubicBezTo>
                    <a:pt x="20" y="48"/>
                    <a:pt x="18" y="49"/>
                    <a:pt x="16" y="49"/>
                  </a:cubicBezTo>
                  <a:cubicBezTo>
                    <a:pt x="13" y="49"/>
                    <a:pt x="11" y="49"/>
                    <a:pt x="10" y="48"/>
                  </a:cubicBezTo>
                  <a:cubicBezTo>
                    <a:pt x="8" y="47"/>
                    <a:pt x="7" y="45"/>
                    <a:pt x="6" y="44"/>
                  </a:cubicBezTo>
                  <a:cubicBezTo>
                    <a:pt x="4" y="40"/>
                    <a:pt x="3" y="36"/>
                    <a:pt x="3" y="32"/>
                  </a:cubicBezTo>
                  <a:cubicBezTo>
                    <a:pt x="3" y="28"/>
                    <a:pt x="4" y="24"/>
                    <a:pt x="5" y="21"/>
                  </a:cubicBezTo>
                  <a:cubicBezTo>
                    <a:pt x="7" y="18"/>
                    <a:pt x="8" y="15"/>
                    <a:pt x="10" y="13"/>
                  </a:cubicBezTo>
                  <a:cubicBezTo>
                    <a:pt x="13" y="10"/>
                    <a:pt x="15" y="8"/>
                    <a:pt x="18" y="7"/>
                  </a:cubicBezTo>
                  <a:cubicBezTo>
                    <a:pt x="21" y="5"/>
                    <a:pt x="23" y="4"/>
                    <a:pt x="26" y="3"/>
                  </a:cubicBezTo>
                  <a:cubicBezTo>
                    <a:pt x="32" y="1"/>
                    <a:pt x="38" y="0"/>
                    <a:pt x="45" y="0"/>
                  </a:cubicBezTo>
                  <a:cubicBezTo>
                    <a:pt x="51" y="0"/>
                    <a:pt x="57" y="1"/>
                    <a:pt x="62" y="3"/>
                  </a:cubicBezTo>
                  <a:cubicBezTo>
                    <a:pt x="66" y="5"/>
                    <a:pt x="70" y="9"/>
                    <a:pt x="72" y="13"/>
                  </a:cubicBezTo>
                  <a:cubicBezTo>
                    <a:pt x="74" y="18"/>
                    <a:pt x="76" y="23"/>
                    <a:pt x="77" y="30"/>
                  </a:cubicBezTo>
                  <a:cubicBezTo>
                    <a:pt x="77" y="37"/>
                    <a:pt x="78" y="44"/>
                    <a:pt x="78" y="53"/>
                  </a:cubicBezTo>
                  <a:cubicBezTo>
                    <a:pt x="77" y="84"/>
                    <a:pt x="77" y="84"/>
                    <a:pt x="77" y="84"/>
                  </a:cubicBezTo>
                  <a:cubicBezTo>
                    <a:pt x="77" y="105"/>
                    <a:pt x="79" y="115"/>
                    <a:pt x="82" y="115"/>
                  </a:cubicBezTo>
                  <a:cubicBezTo>
                    <a:pt x="85" y="115"/>
                    <a:pt x="88" y="112"/>
                    <a:pt x="92" y="105"/>
                  </a:cubicBezTo>
                  <a:cubicBezTo>
                    <a:pt x="96" y="112"/>
                    <a:pt x="96" y="112"/>
                    <a:pt x="96" y="112"/>
                  </a:cubicBezTo>
                  <a:cubicBezTo>
                    <a:pt x="93" y="119"/>
                    <a:pt x="90" y="123"/>
                    <a:pt x="88" y="126"/>
                  </a:cubicBezTo>
                  <a:cubicBezTo>
                    <a:pt x="84" y="130"/>
                    <a:pt x="80" y="132"/>
                    <a:pt x="75" y="132"/>
                  </a:cubicBezTo>
                  <a:cubicBezTo>
                    <a:pt x="70" y="132"/>
                    <a:pt x="66" y="130"/>
                    <a:pt x="63" y="126"/>
                  </a:cubicBezTo>
                  <a:cubicBezTo>
                    <a:pt x="60" y="122"/>
                    <a:pt x="58" y="117"/>
                    <a:pt x="58" y="111"/>
                  </a:cubicBezTo>
                  <a:close/>
                  <a:moveTo>
                    <a:pt x="34" y="116"/>
                  </a:moveTo>
                  <a:cubicBezTo>
                    <a:pt x="42" y="116"/>
                    <a:pt x="50" y="111"/>
                    <a:pt x="58" y="101"/>
                  </a:cubicBezTo>
                  <a:cubicBezTo>
                    <a:pt x="58" y="65"/>
                    <a:pt x="58" y="65"/>
                    <a:pt x="58" y="65"/>
                  </a:cubicBezTo>
                  <a:cubicBezTo>
                    <a:pt x="56" y="66"/>
                    <a:pt x="54" y="67"/>
                    <a:pt x="51" y="68"/>
                  </a:cubicBezTo>
                  <a:cubicBezTo>
                    <a:pt x="49" y="69"/>
                    <a:pt x="46" y="70"/>
                    <a:pt x="43" y="72"/>
                  </a:cubicBezTo>
                  <a:cubicBezTo>
                    <a:pt x="41" y="73"/>
                    <a:pt x="38" y="75"/>
                    <a:pt x="35" y="76"/>
                  </a:cubicBezTo>
                  <a:cubicBezTo>
                    <a:pt x="33" y="78"/>
                    <a:pt x="30" y="80"/>
                    <a:pt x="28" y="82"/>
                  </a:cubicBezTo>
                  <a:cubicBezTo>
                    <a:pt x="23" y="87"/>
                    <a:pt x="21" y="92"/>
                    <a:pt x="21" y="98"/>
                  </a:cubicBezTo>
                  <a:cubicBezTo>
                    <a:pt x="21" y="104"/>
                    <a:pt x="22" y="108"/>
                    <a:pt x="24" y="111"/>
                  </a:cubicBezTo>
                  <a:cubicBezTo>
                    <a:pt x="27" y="114"/>
                    <a:pt x="30" y="116"/>
                    <a:pt x="34"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5">
              <a:extLst>
                <a:ext uri="{FF2B5EF4-FFF2-40B4-BE49-F238E27FC236}">
                  <a16:creationId xmlns:a16="http://schemas.microsoft.com/office/drawing/2014/main" id="{BFEA29D6-938F-444A-9B43-F949F128E61B}"/>
                </a:ext>
              </a:extLst>
            </p:cNvPr>
            <p:cNvSpPr>
              <a:spLocks/>
            </p:cNvSpPr>
            <p:nvPr userDrawn="1"/>
          </p:nvSpPr>
          <p:spPr bwMode="auto">
            <a:xfrm>
              <a:off x="4648" y="2315"/>
              <a:ext cx="207" cy="315"/>
            </a:xfrm>
            <a:custGeom>
              <a:avLst/>
              <a:gdLst>
                <a:gd name="T0" fmla="*/ 86 w 87"/>
                <a:gd name="T1" fmla="*/ 103 h 132"/>
                <a:gd name="T2" fmla="*/ 71 w 87"/>
                <a:gd name="T3" fmla="*/ 124 h 132"/>
                <a:gd name="T4" fmla="*/ 49 w 87"/>
                <a:gd name="T5" fmla="*/ 132 h 132"/>
                <a:gd name="T6" fmla="*/ 28 w 87"/>
                <a:gd name="T7" fmla="*/ 126 h 132"/>
                <a:gd name="T8" fmla="*/ 13 w 87"/>
                <a:gd name="T9" fmla="*/ 112 h 132"/>
                <a:gd name="T10" fmla="*/ 0 w 87"/>
                <a:gd name="T11" fmla="*/ 66 h 132"/>
                <a:gd name="T12" fmla="*/ 15 w 87"/>
                <a:gd name="T13" fmla="*/ 19 h 132"/>
                <a:gd name="T14" fmla="*/ 53 w 87"/>
                <a:gd name="T15" fmla="*/ 0 h 132"/>
                <a:gd name="T16" fmla="*/ 84 w 87"/>
                <a:gd name="T17" fmla="*/ 14 h 132"/>
                <a:gd name="T18" fmla="*/ 87 w 87"/>
                <a:gd name="T19" fmla="*/ 24 h 132"/>
                <a:gd name="T20" fmla="*/ 86 w 87"/>
                <a:gd name="T21" fmla="*/ 32 h 132"/>
                <a:gd name="T22" fmla="*/ 84 w 87"/>
                <a:gd name="T23" fmla="*/ 36 h 132"/>
                <a:gd name="T24" fmla="*/ 77 w 87"/>
                <a:gd name="T25" fmla="*/ 39 h 132"/>
                <a:gd name="T26" fmla="*/ 71 w 87"/>
                <a:gd name="T27" fmla="*/ 37 h 132"/>
                <a:gd name="T28" fmla="*/ 69 w 87"/>
                <a:gd name="T29" fmla="*/ 32 h 132"/>
                <a:gd name="T30" fmla="*/ 68 w 87"/>
                <a:gd name="T31" fmla="*/ 25 h 132"/>
                <a:gd name="T32" fmla="*/ 66 w 87"/>
                <a:gd name="T33" fmla="*/ 17 h 132"/>
                <a:gd name="T34" fmla="*/ 51 w 87"/>
                <a:gd name="T35" fmla="*/ 10 h 132"/>
                <a:gd name="T36" fmla="*/ 30 w 87"/>
                <a:gd name="T37" fmla="*/ 22 h 132"/>
                <a:gd name="T38" fmla="*/ 20 w 87"/>
                <a:gd name="T39" fmla="*/ 59 h 132"/>
                <a:gd name="T40" fmla="*/ 29 w 87"/>
                <a:gd name="T41" fmla="*/ 96 h 132"/>
                <a:gd name="T42" fmla="*/ 54 w 87"/>
                <a:gd name="T43" fmla="*/ 112 h 132"/>
                <a:gd name="T44" fmla="*/ 76 w 87"/>
                <a:gd name="T45" fmla="*/ 105 h 132"/>
                <a:gd name="T46" fmla="*/ 83 w 87"/>
                <a:gd name="T47" fmla="*/ 99 h 132"/>
                <a:gd name="T48" fmla="*/ 86 w 87"/>
                <a:gd name="T49" fmla="*/ 10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6" y="103"/>
                  </a:moveTo>
                  <a:cubicBezTo>
                    <a:pt x="84" y="112"/>
                    <a:pt x="79" y="119"/>
                    <a:pt x="71" y="124"/>
                  </a:cubicBezTo>
                  <a:cubicBezTo>
                    <a:pt x="65" y="129"/>
                    <a:pt x="57" y="132"/>
                    <a:pt x="49" y="132"/>
                  </a:cubicBezTo>
                  <a:cubicBezTo>
                    <a:pt x="41" y="132"/>
                    <a:pt x="34" y="130"/>
                    <a:pt x="28" y="126"/>
                  </a:cubicBezTo>
                  <a:cubicBezTo>
                    <a:pt x="22" y="123"/>
                    <a:pt x="17" y="118"/>
                    <a:pt x="13" y="112"/>
                  </a:cubicBezTo>
                  <a:cubicBezTo>
                    <a:pt x="5" y="100"/>
                    <a:pt x="0" y="84"/>
                    <a:pt x="0" y="66"/>
                  </a:cubicBezTo>
                  <a:cubicBezTo>
                    <a:pt x="0" y="47"/>
                    <a:pt x="5" y="32"/>
                    <a:pt x="15" y="19"/>
                  </a:cubicBezTo>
                  <a:cubicBezTo>
                    <a:pt x="25" y="6"/>
                    <a:pt x="37" y="0"/>
                    <a:pt x="53" y="0"/>
                  </a:cubicBezTo>
                  <a:cubicBezTo>
                    <a:pt x="69" y="0"/>
                    <a:pt x="79" y="4"/>
                    <a:pt x="84" y="14"/>
                  </a:cubicBezTo>
                  <a:cubicBezTo>
                    <a:pt x="86" y="17"/>
                    <a:pt x="87" y="21"/>
                    <a:pt x="87" y="24"/>
                  </a:cubicBezTo>
                  <a:cubicBezTo>
                    <a:pt x="87" y="28"/>
                    <a:pt x="87" y="30"/>
                    <a:pt x="86" y="32"/>
                  </a:cubicBezTo>
                  <a:cubicBezTo>
                    <a:pt x="85" y="34"/>
                    <a:pt x="85" y="35"/>
                    <a:pt x="84" y="36"/>
                  </a:cubicBezTo>
                  <a:cubicBezTo>
                    <a:pt x="82" y="38"/>
                    <a:pt x="79" y="39"/>
                    <a:pt x="77" y="39"/>
                  </a:cubicBezTo>
                  <a:cubicBezTo>
                    <a:pt x="74" y="39"/>
                    <a:pt x="72" y="39"/>
                    <a:pt x="71" y="37"/>
                  </a:cubicBezTo>
                  <a:cubicBezTo>
                    <a:pt x="70" y="36"/>
                    <a:pt x="69" y="34"/>
                    <a:pt x="69" y="32"/>
                  </a:cubicBezTo>
                  <a:cubicBezTo>
                    <a:pt x="68" y="29"/>
                    <a:pt x="68" y="27"/>
                    <a:pt x="68" y="25"/>
                  </a:cubicBezTo>
                  <a:cubicBezTo>
                    <a:pt x="67" y="22"/>
                    <a:pt x="67" y="20"/>
                    <a:pt x="66" y="17"/>
                  </a:cubicBezTo>
                  <a:cubicBezTo>
                    <a:pt x="63" y="12"/>
                    <a:pt x="59" y="10"/>
                    <a:pt x="51" y="10"/>
                  </a:cubicBezTo>
                  <a:cubicBezTo>
                    <a:pt x="43" y="10"/>
                    <a:pt x="36" y="14"/>
                    <a:pt x="30" y="22"/>
                  </a:cubicBezTo>
                  <a:cubicBezTo>
                    <a:pt x="23" y="31"/>
                    <a:pt x="20" y="43"/>
                    <a:pt x="20" y="59"/>
                  </a:cubicBezTo>
                  <a:cubicBezTo>
                    <a:pt x="20" y="74"/>
                    <a:pt x="23" y="86"/>
                    <a:pt x="29" y="96"/>
                  </a:cubicBezTo>
                  <a:cubicBezTo>
                    <a:pt x="35" y="107"/>
                    <a:pt x="44" y="112"/>
                    <a:pt x="54" y="112"/>
                  </a:cubicBezTo>
                  <a:cubicBezTo>
                    <a:pt x="63" y="112"/>
                    <a:pt x="70" y="110"/>
                    <a:pt x="76" y="105"/>
                  </a:cubicBezTo>
                  <a:cubicBezTo>
                    <a:pt x="78" y="103"/>
                    <a:pt x="80" y="102"/>
                    <a:pt x="83" y="99"/>
                  </a:cubicBezTo>
                  <a:lnTo>
                    <a:pt x="86"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6">
              <a:extLst>
                <a:ext uri="{FF2B5EF4-FFF2-40B4-BE49-F238E27FC236}">
                  <a16:creationId xmlns:a16="http://schemas.microsoft.com/office/drawing/2014/main" id="{56426F06-299A-4011-AA25-9882AA587EC3}"/>
                </a:ext>
              </a:extLst>
            </p:cNvPr>
            <p:cNvSpPr>
              <a:spLocks/>
            </p:cNvSpPr>
            <p:nvPr userDrawn="1"/>
          </p:nvSpPr>
          <p:spPr bwMode="auto">
            <a:xfrm>
              <a:off x="4907" y="2179"/>
              <a:ext cx="368" cy="451"/>
            </a:xfrm>
            <a:custGeom>
              <a:avLst/>
              <a:gdLst>
                <a:gd name="T0" fmla="*/ 155 w 155"/>
                <a:gd name="T1" fmla="*/ 90 h 189"/>
                <a:gd name="T2" fmla="*/ 155 w 155"/>
                <a:gd name="T3" fmla="*/ 98 h 189"/>
                <a:gd name="T4" fmla="*/ 148 w 155"/>
                <a:gd name="T5" fmla="*/ 101 h 189"/>
                <a:gd name="T6" fmla="*/ 142 w 155"/>
                <a:gd name="T7" fmla="*/ 104 h 189"/>
                <a:gd name="T8" fmla="*/ 137 w 155"/>
                <a:gd name="T9" fmla="*/ 121 h 189"/>
                <a:gd name="T10" fmla="*/ 137 w 155"/>
                <a:gd name="T11" fmla="*/ 172 h 189"/>
                <a:gd name="T12" fmla="*/ 81 w 155"/>
                <a:gd name="T13" fmla="*/ 189 h 189"/>
                <a:gd name="T14" fmla="*/ 22 w 155"/>
                <a:gd name="T15" fmla="*/ 164 h 189"/>
                <a:gd name="T16" fmla="*/ 0 w 155"/>
                <a:gd name="T17" fmla="*/ 97 h 189"/>
                <a:gd name="T18" fmla="*/ 12 w 155"/>
                <a:gd name="T19" fmla="*/ 46 h 189"/>
                <a:gd name="T20" fmla="*/ 43 w 155"/>
                <a:gd name="T21" fmla="*/ 12 h 189"/>
                <a:gd name="T22" fmla="*/ 85 w 155"/>
                <a:gd name="T23" fmla="*/ 0 h 189"/>
                <a:gd name="T24" fmla="*/ 132 w 155"/>
                <a:gd name="T25" fmla="*/ 12 h 189"/>
                <a:gd name="T26" fmla="*/ 136 w 155"/>
                <a:gd name="T27" fmla="*/ 54 h 189"/>
                <a:gd name="T28" fmla="*/ 129 w 155"/>
                <a:gd name="T29" fmla="*/ 54 h 189"/>
                <a:gd name="T30" fmla="*/ 125 w 155"/>
                <a:gd name="T31" fmla="*/ 46 h 189"/>
                <a:gd name="T32" fmla="*/ 119 w 155"/>
                <a:gd name="T33" fmla="*/ 32 h 189"/>
                <a:gd name="T34" fmla="*/ 83 w 155"/>
                <a:gd name="T35" fmla="*/ 11 h 189"/>
                <a:gd name="T36" fmla="*/ 42 w 155"/>
                <a:gd name="T37" fmla="*/ 34 h 189"/>
                <a:gd name="T38" fmla="*/ 26 w 155"/>
                <a:gd name="T39" fmla="*/ 91 h 189"/>
                <a:gd name="T40" fmla="*/ 42 w 155"/>
                <a:gd name="T41" fmla="*/ 153 h 189"/>
                <a:gd name="T42" fmla="*/ 83 w 155"/>
                <a:gd name="T43" fmla="*/ 177 h 189"/>
                <a:gd name="T44" fmla="*/ 112 w 155"/>
                <a:gd name="T45" fmla="*/ 168 h 189"/>
                <a:gd name="T46" fmla="*/ 113 w 155"/>
                <a:gd name="T47" fmla="*/ 140 h 189"/>
                <a:gd name="T48" fmla="*/ 110 w 155"/>
                <a:gd name="T49" fmla="*/ 109 h 189"/>
                <a:gd name="T50" fmla="*/ 101 w 155"/>
                <a:gd name="T51" fmla="*/ 101 h 189"/>
                <a:gd name="T52" fmla="*/ 95 w 155"/>
                <a:gd name="T53" fmla="*/ 99 h 189"/>
                <a:gd name="T54" fmla="*/ 90 w 155"/>
                <a:gd name="T55" fmla="*/ 98 h 189"/>
                <a:gd name="T56" fmla="*/ 90 w 155"/>
                <a:gd name="T57" fmla="*/ 94 h 189"/>
                <a:gd name="T58" fmla="*/ 90 w 155"/>
                <a:gd name="T59" fmla="*/ 90 h 189"/>
                <a:gd name="T60" fmla="*/ 155 w 155"/>
                <a:gd name="T61" fmla="*/ 9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89">
                  <a:moveTo>
                    <a:pt x="155" y="90"/>
                  </a:moveTo>
                  <a:cubicBezTo>
                    <a:pt x="155" y="98"/>
                    <a:pt x="155" y="98"/>
                    <a:pt x="155" y="98"/>
                  </a:cubicBezTo>
                  <a:cubicBezTo>
                    <a:pt x="153" y="99"/>
                    <a:pt x="150" y="100"/>
                    <a:pt x="148" y="101"/>
                  </a:cubicBezTo>
                  <a:cubicBezTo>
                    <a:pt x="146" y="102"/>
                    <a:pt x="144" y="103"/>
                    <a:pt x="142" y="104"/>
                  </a:cubicBezTo>
                  <a:cubicBezTo>
                    <a:pt x="139" y="108"/>
                    <a:pt x="137" y="114"/>
                    <a:pt x="137" y="121"/>
                  </a:cubicBezTo>
                  <a:cubicBezTo>
                    <a:pt x="137" y="172"/>
                    <a:pt x="137" y="172"/>
                    <a:pt x="137" y="172"/>
                  </a:cubicBezTo>
                  <a:cubicBezTo>
                    <a:pt x="120" y="184"/>
                    <a:pt x="102" y="189"/>
                    <a:pt x="81" y="189"/>
                  </a:cubicBezTo>
                  <a:cubicBezTo>
                    <a:pt x="57" y="189"/>
                    <a:pt x="37" y="181"/>
                    <a:pt x="22" y="164"/>
                  </a:cubicBezTo>
                  <a:cubicBezTo>
                    <a:pt x="7" y="147"/>
                    <a:pt x="0" y="125"/>
                    <a:pt x="0" y="97"/>
                  </a:cubicBezTo>
                  <a:cubicBezTo>
                    <a:pt x="0" y="78"/>
                    <a:pt x="4" y="61"/>
                    <a:pt x="12" y="46"/>
                  </a:cubicBezTo>
                  <a:cubicBezTo>
                    <a:pt x="19" y="32"/>
                    <a:pt x="29" y="21"/>
                    <a:pt x="43" y="12"/>
                  </a:cubicBezTo>
                  <a:cubicBezTo>
                    <a:pt x="56" y="4"/>
                    <a:pt x="70" y="0"/>
                    <a:pt x="85" y="0"/>
                  </a:cubicBezTo>
                  <a:cubicBezTo>
                    <a:pt x="101" y="0"/>
                    <a:pt x="116" y="4"/>
                    <a:pt x="132" y="12"/>
                  </a:cubicBezTo>
                  <a:cubicBezTo>
                    <a:pt x="136" y="54"/>
                    <a:pt x="136" y="54"/>
                    <a:pt x="136" y="54"/>
                  </a:cubicBezTo>
                  <a:cubicBezTo>
                    <a:pt x="133" y="54"/>
                    <a:pt x="131" y="54"/>
                    <a:pt x="129" y="54"/>
                  </a:cubicBezTo>
                  <a:cubicBezTo>
                    <a:pt x="128" y="53"/>
                    <a:pt x="127" y="50"/>
                    <a:pt x="125" y="46"/>
                  </a:cubicBezTo>
                  <a:cubicBezTo>
                    <a:pt x="122" y="38"/>
                    <a:pt x="120" y="33"/>
                    <a:pt x="119" y="32"/>
                  </a:cubicBezTo>
                  <a:cubicBezTo>
                    <a:pt x="110" y="18"/>
                    <a:pt x="98" y="11"/>
                    <a:pt x="83" y="11"/>
                  </a:cubicBezTo>
                  <a:cubicBezTo>
                    <a:pt x="66" y="11"/>
                    <a:pt x="52" y="19"/>
                    <a:pt x="42" y="34"/>
                  </a:cubicBezTo>
                  <a:cubicBezTo>
                    <a:pt x="31" y="49"/>
                    <a:pt x="26" y="69"/>
                    <a:pt x="26" y="91"/>
                  </a:cubicBezTo>
                  <a:cubicBezTo>
                    <a:pt x="26" y="116"/>
                    <a:pt x="31" y="137"/>
                    <a:pt x="42" y="153"/>
                  </a:cubicBezTo>
                  <a:cubicBezTo>
                    <a:pt x="52" y="169"/>
                    <a:pt x="66" y="177"/>
                    <a:pt x="83" y="177"/>
                  </a:cubicBezTo>
                  <a:cubicBezTo>
                    <a:pt x="95" y="177"/>
                    <a:pt x="104" y="174"/>
                    <a:pt x="112" y="168"/>
                  </a:cubicBezTo>
                  <a:cubicBezTo>
                    <a:pt x="113" y="159"/>
                    <a:pt x="113" y="149"/>
                    <a:pt x="113" y="140"/>
                  </a:cubicBezTo>
                  <a:cubicBezTo>
                    <a:pt x="113" y="126"/>
                    <a:pt x="112" y="116"/>
                    <a:pt x="110" y="109"/>
                  </a:cubicBezTo>
                  <a:cubicBezTo>
                    <a:pt x="109" y="105"/>
                    <a:pt x="106" y="102"/>
                    <a:pt x="101" y="101"/>
                  </a:cubicBezTo>
                  <a:cubicBezTo>
                    <a:pt x="99" y="100"/>
                    <a:pt x="97" y="100"/>
                    <a:pt x="95" y="99"/>
                  </a:cubicBezTo>
                  <a:cubicBezTo>
                    <a:pt x="93" y="99"/>
                    <a:pt x="91" y="98"/>
                    <a:pt x="90" y="98"/>
                  </a:cubicBezTo>
                  <a:cubicBezTo>
                    <a:pt x="90" y="94"/>
                    <a:pt x="90" y="94"/>
                    <a:pt x="90" y="94"/>
                  </a:cubicBezTo>
                  <a:cubicBezTo>
                    <a:pt x="90" y="93"/>
                    <a:pt x="90" y="91"/>
                    <a:pt x="90" y="90"/>
                  </a:cubicBezTo>
                  <a:lnTo>
                    <a:pt x="155"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7">
              <a:extLst>
                <a:ext uri="{FF2B5EF4-FFF2-40B4-BE49-F238E27FC236}">
                  <a16:creationId xmlns:a16="http://schemas.microsoft.com/office/drawing/2014/main" id="{8ED57AC8-AD50-4EA2-B8E4-B9FCC2A22CF3}"/>
                </a:ext>
              </a:extLst>
            </p:cNvPr>
            <p:cNvSpPr>
              <a:spLocks/>
            </p:cNvSpPr>
            <p:nvPr userDrawn="1"/>
          </p:nvSpPr>
          <p:spPr bwMode="auto">
            <a:xfrm>
              <a:off x="5284" y="2322"/>
              <a:ext cx="249" cy="432"/>
            </a:xfrm>
            <a:custGeom>
              <a:avLst/>
              <a:gdLst>
                <a:gd name="T0" fmla="*/ 105 w 105"/>
                <a:gd name="T1" fmla="*/ 3 h 181"/>
                <a:gd name="T2" fmla="*/ 105 w 105"/>
                <a:gd name="T3" fmla="*/ 7 h 181"/>
                <a:gd name="T4" fmla="*/ 101 w 105"/>
                <a:gd name="T5" fmla="*/ 10 h 181"/>
                <a:gd name="T6" fmla="*/ 97 w 105"/>
                <a:gd name="T7" fmla="*/ 13 h 181"/>
                <a:gd name="T8" fmla="*/ 89 w 105"/>
                <a:gd name="T9" fmla="*/ 27 h 181"/>
                <a:gd name="T10" fmla="*/ 51 w 105"/>
                <a:gd name="T11" fmla="*/ 149 h 181"/>
                <a:gd name="T12" fmla="*/ 42 w 105"/>
                <a:gd name="T13" fmla="*/ 170 h 181"/>
                <a:gd name="T14" fmla="*/ 23 w 105"/>
                <a:gd name="T15" fmla="*/ 181 h 181"/>
                <a:gd name="T16" fmla="*/ 13 w 105"/>
                <a:gd name="T17" fmla="*/ 178 h 181"/>
                <a:gd name="T18" fmla="*/ 7 w 105"/>
                <a:gd name="T19" fmla="*/ 166 h 181"/>
                <a:gd name="T20" fmla="*/ 10 w 105"/>
                <a:gd name="T21" fmla="*/ 155 h 181"/>
                <a:gd name="T22" fmla="*/ 17 w 105"/>
                <a:gd name="T23" fmla="*/ 152 h 181"/>
                <a:gd name="T24" fmla="*/ 22 w 105"/>
                <a:gd name="T25" fmla="*/ 153 h 181"/>
                <a:gd name="T26" fmla="*/ 25 w 105"/>
                <a:gd name="T27" fmla="*/ 157 h 181"/>
                <a:gd name="T28" fmla="*/ 32 w 105"/>
                <a:gd name="T29" fmla="*/ 162 h 181"/>
                <a:gd name="T30" fmla="*/ 38 w 105"/>
                <a:gd name="T31" fmla="*/ 159 h 181"/>
                <a:gd name="T32" fmla="*/ 43 w 105"/>
                <a:gd name="T33" fmla="*/ 150 h 181"/>
                <a:gd name="T34" fmla="*/ 50 w 105"/>
                <a:gd name="T35" fmla="*/ 126 h 181"/>
                <a:gd name="T36" fmla="*/ 17 w 105"/>
                <a:gd name="T37" fmla="*/ 26 h 181"/>
                <a:gd name="T38" fmla="*/ 9 w 105"/>
                <a:gd name="T39" fmla="*/ 11 h 181"/>
                <a:gd name="T40" fmla="*/ 5 w 105"/>
                <a:gd name="T41" fmla="*/ 9 h 181"/>
                <a:gd name="T42" fmla="*/ 0 w 105"/>
                <a:gd name="T43" fmla="*/ 7 h 181"/>
                <a:gd name="T44" fmla="*/ 0 w 105"/>
                <a:gd name="T45" fmla="*/ 0 h 181"/>
                <a:gd name="T46" fmla="*/ 50 w 105"/>
                <a:gd name="T47" fmla="*/ 0 h 181"/>
                <a:gd name="T48" fmla="*/ 51 w 105"/>
                <a:gd name="T49" fmla="*/ 5 h 181"/>
                <a:gd name="T50" fmla="*/ 47 w 105"/>
                <a:gd name="T51" fmla="*/ 9 h 181"/>
                <a:gd name="T52" fmla="*/ 45 w 105"/>
                <a:gd name="T53" fmla="*/ 10 h 181"/>
                <a:gd name="T54" fmla="*/ 36 w 105"/>
                <a:gd name="T55" fmla="*/ 17 h 181"/>
                <a:gd name="T56" fmla="*/ 37 w 105"/>
                <a:gd name="T57" fmla="*/ 21 h 181"/>
                <a:gd name="T58" fmla="*/ 38 w 105"/>
                <a:gd name="T59" fmla="*/ 25 h 181"/>
                <a:gd name="T60" fmla="*/ 60 w 105"/>
                <a:gd name="T61" fmla="*/ 94 h 181"/>
                <a:gd name="T62" fmla="*/ 78 w 105"/>
                <a:gd name="T63" fmla="*/ 31 h 181"/>
                <a:gd name="T64" fmla="*/ 80 w 105"/>
                <a:gd name="T65" fmla="*/ 21 h 181"/>
                <a:gd name="T66" fmla="*/ 66 w 105"/>
                <a:gd name="T67" fmla="*/ 8 h 181"/>
                <a:gd name="T68" fmla="*/ 66 w 105"/>
                <a:gd name="T69" fmla="*/ 6 h 181"/>
                <a:gd name="T70" fmla="*/ 66 w 105"/>
                <a:gd name="T71" fmla="*/ 2 h 181"/>
                <a:gd name="T72" fmla="*/ 66 w 105"/>
                <a:gd name="T73" fmla="*/ 0 h 181"/>
                <a:gd name="T74" fmla="*/ 105 w 105"/>
                <a:gd name="T75" fmla="*/ 0 h 181"/>
                <a:gd name="T76" fmla="*/ 105 w 105"/>
                <a:gd name="T77" fmla="*/ 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81">
                  <a:moveTo>
                    <a:pt x="105" y="3"/>
                  </a:moveTo>
                  <a:cubicBezTo>
                    <a:pt x="105" y="7"/>
                    <a:pt x="105" y="7"/>
                    <a:pt x="105" y="7"/>
                  </a:cubicBezTo>
                  <a:cubicBezTo>
                    <a:pt x="104" y="9"/>
                    <a:pt x="103" y="10"/>
                    <a:pt x="101" y="10"/>
                  </a:cubicBezTo>
                  <a:cubicBezTo>
                    <a:pt x="100" y="11"/>
                    <a:pt x="98" y="12"/>
                    <a:pt x="97" y="13"/>
                  </a:cubicBezTo>
                  <a:cubicBezTo>
                    <a:pt x="93" y="15"/>
                    <a:pt x="91" y="20"/>
                    <a:pt x="89" y="27"/>
                  </a:cubicBezTo>
                  <a:cubicBezTo>
                    <a:pt x="51" y="149"/>
                    <a:pt x="51" y="149"/>
                    <a:pt x="51" y="149"/>
                  </a:cubicBezTo>
                  <a:cubicBezTo>
                    <a:pt x="48" y="159"/>
                    <a:pt x="45" y="166"/>
                    <a:pt x="42" y="170"/>
                  </a:cubicBezTo>
                  <a:cubicBezTo>
                    <a:pt x="36" y="177"/>
                    <a:pt x="30" y="181"/>
                    <a:pt x="23" y="181"/>
                  </a:cubicBezTo>
                  <a:cubicBezTo>
                    <a:pt x="19" y="181"/>
                    <a:pt x="15" y="180"/>
                    <a:pt x="13" y="178"/>
                  </a:cubicBezTo>
                  <a:cubicBezTo>
                    <a:pt x="9" y="174"/>
                    <a:pt x="7" y="170"/>
                    <a:pt x="7" y="166"/>
                  </a:cubicBezTo>
                  <a:cubicBezTo>
                    <a:pt x="7" y="161"/>
                    <a:pt x="8" y="158"/>
                    <a:pt x="10" y="155"/>
                  </a:cubicBezTo>
                  <a:cubicBezTo>
                    <a:pt x="12" y="153"/>
                    <a:pt x="14" y="152"/>
                    <a:pt x="17" y="152"/>
                  </a:cubicBezTo>
                  <a:cubicBezTo>
                    <a:pt x="19" y="152"/>
                    <a:pt x="21" y="152"/>
                    <a:pt x="22" y="153"/>
                  </a:cubicBezTo>
                  <a:cubicBezTo>
                    <a:pt x="23" y="154"/>
                    <a:pt x="24" y="155"/>
                    <a:pt x="25" y="157"/>
                  </a:cubicBezTo>
                  <a:cubicBezTo>
                    <a:pt x="28" y="160"/>
                    <a:pt x="30" y="162"/>
                    <a:pt x="32" y="162"/>
                  </a:cubicBezTo>
                  <a:cubicBezTo>
                    <a:pt x="34" y="162"/>
                    <a:pt x="36" y="161"/>
                    <a:pt x="38" y="159"/>
                  </a:cubicBezTo>
                  <a:cubicBezTo>
                    <a:pt x="40" y="157"/>
                    <a:pt x="42" y="154"/>
                    <a:pt x="43" y="150"/>
                  </a:cubicBezTo>
                  <a:cubicBezTo>
                    <a:pt x="45" y="146"/>
                    <a:pt x="48" y="137"/>
                    <a:pt x="50" y="126"/>
                  </a:cubicBezTo>
                  <a:cubicBezTo>
                    <a:pt x="17" y="26"/>
                    <a:pt x="17" y="26"/>
                    <a:pt x="17" y="26"/>
                  </a:cubicBezTo>
                  <a:cubicBezTo>
                    <a:pt x="14" y="18"/>
                    <a:pt x="11" y="13"/>
                    <a:pt x="9" y="11"/>
                  </a:cubicBezTo>
                  <a:cubicBezTo>
                    <a:pt x="7" y="10"/>
                    <a:pt x="6" y="9"/>
                    <a:pt x="5" y="9"/>
                  </a:cubicBezTo>
                  <a:cubicBezTo>
                    <a:pt x="3" y="9"/>
                    <a:pt x="2" y="9"/>
                    <a:pt x="0" y="7"/>
                  </a:cubicBezTo>
                  <a:cubicBezTo>
                    <a:pt x="0" y="0"/>
                    <a:pt x="0" y="0"/>
                    <a:pt x="0" y="0"/>
                  </a:cubicBezTo>
                  <a:cubicBezTo>
                    <a:pt x="50" y="0"/>
                    <a:pt x="50" y="0"/>
                    <a:pt x="50" y="0"/>
                  </a:cubicBezTo>
                  <a:cubicBezTo>
                    <a:pt x="51" y="5"/>
                    <a:pt x="51" y="5"/>
                    <a:pt x="51" y="5"/>
                  </a:cubicBezTo>
                  <a:cubicBezTo>
                    <a:pt x="51" y="6"/>
                    <a:pt x="49" y="7"/>
                    <a:pt x="47" y="9"/>
                  </a:cubicBezTo>
                  <a:cubicBezTo>
                    <a:pt x="46" y="9"/>
                    <a:pt x="46" y="9"/>
                    <a:pt x="45" y="10"/>
                  </a:cubicBezTo>
                  <a:cubicBezTo>
                    <a:pt x="39" y="10"/>
                    <a:pt x="36" y="13"/>
                    <a:pt x="36" y="17"/>
                  </a:cubicBezTo>
                  <a:cubicBezTo>
                    <a:pt x="36" y="18"/>
                    <a:pt x="36" y="20"/>
                    <a:pt x="37" y="21"/>
                  </a:cubicBezTo>
                  <a:cubicBezTo>
                    <a:pt x="37" y="22"/>
                    <a:pt x="37" y="23"/>
                    <a:pt x="38" y="25"/>
                  </a:cubicBezTo>
                  <a:cubicBezTo>
                    <a:pt x="60" y="94"/>
                    <a:pt x="60" y="94"/>
                    <a:pt x="60" y="94"/>
                  </a:cubicBezTo>
                  <a:cubicBezTo>
                    <a:pt x="78" y="31"/>
                    <a:pt x="78" y="31"/>
                    <a:pt x="78" y="31"/>
                  </a:cubicBezTo>
                  <a:cubicBezTo>
                    <a:pt x="79" y="28"/>
                    <a:pt x="80" y="24"/>
                    <a:pt x="80" y="21"/>
                  </a:cubicBezTo>
                  <a:cubicBezTo>
                    <a:pt x="80" y="14"/>
                    <a:pt x="75" y="10"/>
                    <a:pt x="66" y="8"/>
                  </a:cubicBezTo>
                  <a:cubicBezTo>
                    <a:pt x="66" y="8"/>
                    <a:pt x="66" y="7"/>
                    <a:pt x="66" y="6"/>
                  </a:cubicBezTo>
                  <a:cubicBezTo>
                    <a:pt x="66" y="2"/>
                    <a:pt x="66" y="2"/>
                    <a:pt x="66" y="2"/>
                  </a:cubicBezTo>
                  <a:cubicBezTo>
                    <a:pt x="66" y="1"/>
                    <a:pt x="66" y="0"/>
                    <a:pt x="66" y="0"/>
                  </a:cubicBezTo>
                  <a:cubicBezTo>
                    <a:pt x="105" y="0"/>
                    <a:pt x="105" y="0"/>
                    <a:pt x="105" y="0"/>
                  </a:cubicBezTo>
                  <a:lnTo>
                    <a:pt x="10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8">
              <a:extLst>
                <a:ext uri="{FF2B5EF4-FFF2-40B4-BE49-F238E27FC236}">
                  <a16:creationId xmlns:a16="http://schemas.microsoft.com/office/drawing/2014/main" id="{1D86F384-F2BD-4BE6-B445-23F4E0797E47}"/>
                </a:ext>
              </a:extLst>
            </p:cNvPr>
            <p:cNvSpPr>
              <a:spLocks/>
            </p:cNvSpPr>
            <p:nvPr userDrawn="1"/>
          </p:nvSpPr>
          <p:spPr bwMode="auto">
            <a:xfrm>
              <a:off x="5543" y="2322"/>
              <a:ext cx="249" cy="306"/>
            </a:xfrm>
            <a:custGeom>
              <a:avLst/>
              <a:gdLst>
                <a:gd name="T0" fmla="*/ 49 w 105"/>
                <a:gd name="T1" fmla="*/ 0 h 128"/>
                <a:gd name="T2" fmla="*/ 49 w 105"/>
                <a:gd name="T3" fmla="*/ 8 h 128"/>
                <a:gd name="T4" fmla="*/ 37 w 105"/>
                <a:gd name="T5" fmla="*/ 14 h 128"/>
                <a:gd name="T6" fmla="*/ 35 w 105"/>
                <a:gd name="T7" fmla="*/ 19 h 128"/>
                <a:gd name="T8" fmla="*/ 36 w 105"/>
                <a:gd name="T9" fmla="*/ 23 h 128"/>
                <a:gd name="T10" fmla="*/ 58 w 105"/>
                <a:gd name="T11" fmla="*/ 94 h 128"/>
                <a:gd name="T12" fmla="*/ 76 w 105"/>
                <a:gd name="T13" fmla="*/ 35 h 128"/>
                <a:gd name="T14" fmla="*/ 79 w 105"/>
                <a:gd name="T15" fmla="*/ 20 h 128"/>
                <a:gd name="T16" fmla="*/ 75 w 105"/>
                <a:gd name="T17" fmla="*/ 13 h 128"/>
                <a:gd name="T18" fmla="*/ 65 w 105"/>
                <a:gd name="T19" fmla="*/ 8 h 128"/>
                <a:gd name="T20" fmla="*/ 65 w 105"/>
                <a:gd name="T21" fmla="*/ 6 h 128"/>
                <a:gd name="T22" fmla="*/ 65 w 105"/>
                <a:gd name="T23" fmla="*/ 2 h 128"/>
                <a:gd name="T24" fmla="*/ 65 w 105"/>
                <a:gd name="T25" fmla="*/ 0 h 128"/>
                <a:gd name="T26" fmla="*/ 105 w 105"/>
                <a:gd name="T27" fmla="*/ 0 h 128"/>
                <a:gd name="T28" fmla="*/ 105 w 105"/>
                <a:gd name="T29" fmla="*/ 2 h 128"/>
                <a:gd name="T30" fmla="*/ 105 w 105"/>
                <a:gd name="T31" fmla="*/ 7 h 128"/>
                <a:gd name="T32" fmla="*/ 101 w 105"/>
                <a:gd name="T33" fmla="*/ 10 h 128"/>
                <a:gd name="T34" fmla="*/ 97 w 105"/>
                <a:gd name="T35" fmla="*/ 13 h 128"/>
                <a:gd name="T36" fmla="*/ 88 w 105"/>
                <a:gd name="T37" fmla="*/ 27 h 128"/>
                <a:gd name="T38" fmla="*/ 55 w 105"/>
                <a:gd name="T39" fmla="*/ 127 h 128"/>
                <a:gd name="T40" fmla="*/ 51 w 105"/>
                <a:gd name="T41" fmla="*/ 128 h 128"/>
                <a:gd name="T42" fmla="*/ 48 w 105"/>
                <a:gd name="T43" fmla="*/ 127 h 128"/>
                <a:gd name="T44" fmla="*/ 15 w 105"/>
                <a:gd name="T45" fmla="*/ 25 h 128"/>
                <a:gd name="T46" fmla="*/ 10 w 105"/>
                <a:gd name="T47" fmla="*/ 12 h 128"/>
                <a:gd name="T48" fmla="*/ 5 w 105"/>
                <a:gd name="T49" fmla="*/ 10 h 128"/>
                <a:gd name="T50" fmla="*/ 0 w 105"/>
                <a:gd name="T51" fmla="*/ 7 h 128"/>
                <a:gd name="T52" fmla="*/ 0 w 105"/>
                <a:gd name="T53" fmla="*/ 0 h 128"/>
                <a:gd name="T54" fmla="*/ 49 w 105"/>
                <a:gd name="T5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28">
                  <a:moveTo>
                    <a:pt x="49" y="0"/>
                  </a:moveTo>
                  <a:cubicBezTo>
                    <a:pt x="49" y="8"/>
                    <a:pt x="49" y="8"/>
                    <a:pt x="49" y="8"/>
                  </a:cubicBezTo>
                  <a:cubicBezTo>
                    <a:pt x="42" y="10"/>
                    <a:pt x="38" y="12"/>
                    <a:pt x="37" y="14"/>
                  </a:cubicBezTo>
                  <a:cubicBezTo>
                    <a:pt x="36" y="16"/>
                    <a:pt x="35" y="18"/>
                    <a:pt x="35" y="19"/>
                  </a:cubicBezTo>
                  <a:cubicBezTo>
                    <a:pt x="35" y="20"/>
                    <a:pt x="35" y="22"/>
                    <a:pt x="36" y="23"/>
                  </a:cubicBezTo>
                  <a:cubicBezTo>
                    <a:pt x="58" y="94"/>
                    <a:pt x="58" y="94"/>
                    <a:pt x="58" y="94"/>
                  </a:cubicBezTo>
                  <a:cubicBezTo>
                    <a:pt x="76" y="35"/>
                    <a:pt x="76" y="35"/>
                    <a:pt x="76" y="35"/>
                  </a:cubicBezTo>
                  <a:cubicBezTo>
                    <a:pt x="78" y="29"/>
                    <a:pt x="79" y="24"/>
                    <a:pt x="79" y="20"/>
                  </a:cubicBezTo>
                  <a:cubicBezTo>
                    <a:pt x="79" y="17"/>
                    <a:pt x="78" y="14"/>
                    <a:pt x="75" y="13"/>
                  </a:cubicBezTo>
                  <a:cubicBezTo>
                    <a:pt x="73" y="11"/>
                    <a:pt x="70" y="9"/>
                    <a:pt x="65" y="8"/>
                  </a:cubicBezTo>
                  <a:cubicBezTo>
                    <a:pt x="65" y="8"/>
                    <a:pt x="65" y="7"/>
                    <a:pt x="65" y="6"/>
                  </a:cubicBezTo>
                  <a:cubicBezTo>
                    <a:pt x="65" y="2"/>
                    <a:pt x="65" y="2"/>
                    <a:pt x="65" y="2"/>
                  </a:cubicBezTo>
                  <a:cubicBezTo>
                    <a:pt x="65" y="1"/>
                    <a:pt x="65" y="0"/>
                    <a:pt x="65" y="0"/>
                  </a:cubicBezTo>
                  <a:cubicBezTo>
                    <a:pt x="105" y="0"/>
                    <a:pt x="105" y="0"/>
                    <a:pt x="105" y="0"/>
                  </a:cubicBezTo>
                  <a:cubicBezTo>
                    <a:pt x="105" y="1"/>
                    <a:pt x="105" y="2"/>
                    <a:pt x="105" y="2"/>
                  </a:cubicBezTo>
                  <a:cubicBezTo>
                    <a:pt x="105" y="7"/>
                    <a:pt x="105" y="7"/>
                    <a:pt x="105" y="7"/>
                  </a:cubicBezTo>
                  <a:cubicBezTo>
                    <a:pt x="104" y="8"/>
                    <a:pt x="103" y="9"/>
                    <a:pt x="101" y="10"/>
                  </a:cubicBezTo>
                  <a:cubicBezTo>
                    <a:pt x="100" y="11"/>
                    <a:pt x="98" y="12"/>
                    <a:pt x="97" y="13"/>
                  </a:cubicBezTo>
                  <a:cubicBezTo>
                    <a:pt x="93" y="16"/>
                    <a:pt x="90" y="20"/>
                    <a:pt x="88" y="27"/>
                  </a:cubicBezTo>
                  <a:cubicBezTo>
                    <a:pt x="55" y="127"/>
                    <a:pt x="55" y="127"/>
                    <a:pt x="55" y="127"/>
                  </a:cubicBezTo>
                  <a:cubicBezTo>
                    <a:pt x="54" y="128"/>
                    <a:pt x="53" y="128"/>
                    <a:pt x="51" y="128"/>
                  </a:cubicBezTo>
                  <a:cubicBezTo>
                    <a:pt x="50" y="128"/>
                    <a:pt x="49" y="128"/>
                    <a:pt x="48" y="127"/>
                  </a:cubicBezTo>
                  <a:cubicBezTo>
                    <a:pt x="15" y="25"/>
                    <a:pt x="15" y="25"/>
                    <a:pt x="15" y="25"/>
                  </a:cubicBezTo>
                  <a:cubicBezTo>
                    <a:pt x="13" y="18"/>
                    <a:pt x="11" y="14"/>
                    <a:pt x="10" y="12"/>
                  </a:cubicBezTo>
                  <a:cubicBezTo>
                    <a:pt x="8" y="11"/>
                    <a:pt x="6" y="10"/>
                    <a:pt x="5" y="10"/>
                  </a:cubicBezTo>
                  <a:cubicBezTo>
                    <a:pt x="4" y="10"/>
                    <a:pt x="2" y="9"/>
                    <a:pt x="0" y="7"/>
                  </a:cubicBezTo>
                  <a:cubicBezTo>
                    <a:pt x="0" y="0"/>
                    <a:pt x="0" y="0"/>
                    <a:pt x="0" y="0"/>
                  </a:cubicBez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9">
              <a:extLst>
                <a:ext uri="{FF2B5EF4-FFF2-40B4-BE49-F238E27FC236}">
                  <a16:creationId xmlns:a16="http://schemas.microsoft.com/office/drawing/2014/main" id="{CEE756AC-DF45-4378-9D07-1CFDB087E85A}"/>
                </a:ext>
              </a:extLst>
            </p:cNvPr>
            <p:cNvSpPr>
              <a:spLocks noEditPoints="1"/>
            </p:cNvSpPr>
            <p:nvPr userDrawn="1"/>
          </p:nvSpPr>
          <p:spPr bwMode="auto">
            <a:xfrm>
              <a:off x="5832" y="2315"/>
              <a:ext cx="207" cy="315"/>
            </a:xfrm>
            <a:custGeom>
              <a:avLst/>
              <a:gdLst>
                <a:gd name="T0" fmla="*/ 81 w 87"/>
                <a:gd name="T1" fmla="*/ 102 h 132"/>
                <a:gd name="T2" fmla="*/ 85 w 87"/>
                <a:gd name="T3" fmla="*/ 106 h 132"/>
                <a:gd name="T4" fmla="*/ 69 w 87"/>
                <a:gd name="T5" fmla="*/ 125 h 132"/>
                <a:gd name="T6" fmla="*/ 48 w 87"/>
                <a:gd name="T7" fmla="*/ 132 h 132"/>
                <a:gd name="T8" fmla="*/ 28 w 87"/>
                <a:gd name="T9" fmla="*/ 127 h 132"/>
                <a:gd name="T10" fmla="*/ 13 w 87"/>
                <a:gd name="T11" fmla="*/ 114 h 132"/>
                <a:gd name="T12" fmla="*/ 0 w 87"/>
                <a:gd name="T13" fmla="*/ 66 h 132"/>
                <a:gd name="T14" fmla="*/ 14 w 87"/>
                <a:gd name="T15" fmla="*/ 18 h 132"/>
                <a:gd name="T16" fmla="*/ 47 w 87"/>
                <a:gd name="T17" fmla="*/ 0 h 132"/>
                <a:gd name="T18" fmla="*/ 73 w 87"/>
                <a:gd name="T19" fmla="*/ 12 h 132"/>
                <a:gd name="T20" fmla="*/ 86 w 87"/>
                <a:gd name="T21" fmla="*/ 42 h 132"/>
                <a:gd name="T22" fmla="*/ 87 w 87"/>
                <a:gd name="T23" fmla="*/ 54 h 132"/>
                <a:gd name="T24" fmla="*/ 87 w 87"/>
                <a:gd name="T25" fmla="*/ 55 h 132"/>
                <a:gd name="T26" fmla="*/ 19 w 87"/>
                <a:gd name="T27" fmla="*/ 55 h 132"/>
                <a:gd name="T28" fmla="*/ 19 w 87"/>
                <a:gd name="T29" fmla="*/ 58 h 132"/>
                <a:gd name="T30" fmla="*/ 19 w 87"/>
                <a:gd name="T31" fmla="*/ 59 h 132"/>
                <a:gd name="T32" fmla="*/ 30 w 87"/>
                <a:gd name="T33" fmla="*/ 99 h 132"/>
                <a:gd name="T34" fmla="*/ 54 w 87"/>
                <a:gd name="T35" fmla="*/ 112 h 132"/>
                <a:gd name="T36" fmla="*/ 81 w 87"/>
                <a:gd name="T37" fmla="*/ 102 h 132"/>
                <a:gd name="T38" fmla="*/ 66 w 87"/>
                <a:gd name="T39" fmla="*/ 44 h 132"/>
                <a:gd name="T40" fmla="*/ 45 w 87"/>
                <a:gd name="T41" fmla="*/ 9 h 132"/>
                <a:gd name="T42" fmla="*/ 28 w 87"/>
                <a:gd name="T43" fmla="*/ 20 h 132"/>
                <a:gd name="T44" fmla="*/ 20 w 87"/>
                <a:gd name="T45" fmla="*/ 46 h 132"/>
                <a:gd name="T46" fmla="*/ 58 w 87"/>
                <a:gd name="T47" fmla="*/ 46 h 132"/>
                <a:gd name="T48" fmla="*/ 66 w 87"/>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1" y="102"/>
                  </a:moveTo>
                  <a:cubicBezTo>
                    <a:pt x="85" y="106"/>
                    <a:pt x="85" y="106"/>
                    <a:pt x="85" y="106"/>
                  </a:cubicBezTo>
                  <a:cubicBezTo>
                    <a:pt x="82" y="114"/>
                    <a:pt x="77" y="120"/>
                    <a:pt x="69" y="125"/>
                  </a:cubicBezTo>
                  <a:cubicBezTo>
                    <a:pt x="62" y="130"/>
                    <a:pt x="55" y="132"/>
                    <a:pt x="48" y="132"/>
                  </a:cubicBezTo>
                  <a:cubicBezTo>
                    <a:pt x="41" y="132"/>
                    <a:pt x="34" y="130"/>
                    <a:pt x="28" y="127"/>
                  </a:cubicBezTo>
                  <a:cubicBezTo>
                    <a:pt x="23" y="124"/>
                    <a:pt x="18" y="119"/>
                    <a:pt x="13" y="114"/>
                  </a:cubicBezTo>
                  <a:cubicBezTo>
                    <a:pt x="4" y="101"/>
                    <a:pt x="0" y="86"/>
                    <a:pt x="0" y="66"/>
                  </a:cubicBezTo>
                  <a:cubicBezTo>
                    <a:pt x="0" y="47"/>
                    <a:pt x="5" y="31"/>
                    <a:pt x="14" y="18"/>
                  </a:cubicBezTo>
                  <a:cubicBezTo>
                    <a:pt x="23" y="6"/>
                    <a:pt x="34" y="0"/>
                    <a:pt x="47" y="0"/>
                  </a:cubicBezTo>
                  <a:cubicBezTo>
                    <a:pt x="58" y="0"/>
                    <a:pt x="66" y="4"/>
                    <a:pt x="73" y="12"/>
                  </a:cubicBezTo>
                  <a:cubicBezTo>
                    <a:pt x="80" y="19"/>
                    <a:pt x="84" y="30"/>
                    <a:pt x="86" y="42"/>
                  </a:cubicBezTo>
                  <a:cubicBezTo>
                    <a:pt x="86" y="47"/>
                    <a:pt x="87" y="51"/>
                    <a:pt x="87" y="54"/>
                  </a:cubicBezTo>
                  <a:cubicBezTo>
                    <a:pt x="87" y="55"/>
                    <a:pt x="87" y="55"/>
                    <a:pt x="87" y="55"/>
                  </a:cubicBezTo>
                  <a:cubicBezTo>
                    <a:pt x="19" y="55"/>
                    <a:pt x="19" y="55"/>
                    <a:pt x="19" y="55"/>
                  </a:cubicBezTo>
                  <a:cubicBezTo>
                    <a:pt x="19" y="56"/>
                    <a:pt x="19" y="57"/>
                    <a:pt x="19" y="58"/>
                  </a:cubicBezTo>
                  <a:cubicBezTo>
                    <a:pt x="19" y="58"/>
                    <a:pt x="19" y="59"/>
                    <a:pt x="19" y="59"/>
                  </a:cubicBezTo>
                  <a:cubicBezTo>
                    <a:pt x="19" y="77"/>
                    <a:pt x="22" y="90"/>
                    <a:pt x="30" y="99"/>
                  </a:cubicBezTo>
                  <a:cubicBezTo>
                    <a:pt x="36" y="108"/>
                    <a:pt x="44" y="112"/>
                    <a:pt x="54" y="112"/>
                  </a:cubicBezTo>
                  <a:cubicBezTo>
                    <a:pt x="64" y="112"/>
                    <a:pt x="73" y="109"/>
                    <a:pt x="81" y="102"/>
                  </a:cubicBezTo>
                  <a:close/>
                  <a:moveTo>
                    <a:pt x="66" y="44"/>
                  </a:moveTo>
                  <a:cubicBezTo>
                    <a:pt x="65" y="21"/>
                    <a:pt x="58" y="9"/>
                    <a:pt x="45" y="9"/>
                  </a:cubicBezTo>
                  <a:cubicBezTo>
                    <a:pt x="38" y="9"/>
                    <a:pt x="32" y="13"/>
                    <a:pt x="28" y="20"/>
                  </a:cubicBezTo>
                  <a:cubicBezTo>
                    <a:pt x="23" y="27"/>
                    <a:pt x="21" y="36"/>
                    <a:pt x="20" y="46"/>
                  </a:cubicBezTo>
                  <a:cubicBezTo>
                    <a:pt x="58" y="46"/>
                    <a:pt x="58" y="46"/>
                    <a:pt x="58" y="46"/>
                  </a:cubicBezTo>
                  <a:cubicBezTo>
                    <a:pt x="61" y="46"/>
                    <a:pt x="64" y="45"/>
                    <a:pt x="6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0">
              <a:extLst>
                <a:ext uri="{FF2B5EF4-FFF2-40B4-BE49-F238E27FC236}">
                  <a16:creationId xmlns:a16="http://schemas.microsoft.com/office/drawing/2014/main" id="{CC4BF3CB-3365-454E-98E3-362B8DE5DF3F}"/>
                </a:ext>
              </a:extLst>
            </p:cNvPr>
            <p:cNvSpPr>
              <a:spLocks/>
            </p:cNvSpPr>
            <p:nvPr userDrawn="1"/>
          </p:nvSpPr>
          <p:spPr bwMode="auto">
            <a:xfrm>
              <a:off x="6077" y="2315"/>
              <a:ext cx="190" cy="308"/>
            </a:xfrm>
            <a:custGeom>
              <a:avLst/>
              <a:gdLst>
                <a:gd name="T0" fmla="*/ 17 w 80"/>
                <a:gd name="T1" fmla="*/ 28 h 129"/>
                <a:gd name="T2" fmla="*/ 0 w 80"/>
                <a:gd name="T3" fmla="*/ 16 h 129"/>
                <a:gd name="T4" fmla="*/ 1 w 80"/>
                <a:gd name="T5" fmla="*/ 11 h 129"/>
                <a:gd name="T6" fmla="*/ 29 w 80"/>
                <a:gd name="T7" fmla="*/ 1 h 129"/>
                <a:gd name="T8" fmla="*/ 35 w 80"/>
                <a:gd name="T9" fmla="*/ 1 h 129"/>
                <a:gd name="T10" fmla="*/ 37 w 80"/>
                <a:gd name="T11" fmla="*/ 27 h 129"/>
                <a:gd name="T12" fmla="*/ 57 w 80"/>
                <a:gd name="T13" fmla="*/ 1 h 129"/>
                <a:gd name="T14" fmla="*/ 64 w 80"/>
                <a:gd name="T15" fmla="*/ 0 h 129"/>
                <a:gd name="T16" fmla="*/ 70 w 80"/>
                <a:gd name="T17" fmla="*/ 2 h 129"/>
                <a:gd name="T18" fmla="*/ 75 w 80"/>
                <a:gd name="T19" fmla="*/ 5 h 129"/>
                <a:gd name="T20" fmla="*/ 80 w 80"/>
                <a:gd name="T21" fmla="*/ 16 h 129"/>
                <a:gd name="T22" fmla="*/ 78 w 80"/>
                <a:gd name="T23" fmla="*/ 24 h 129"/>
                <a:gd name="T24" fmla="*/ 71 w 80"/>
                <a:gd name="T25" fmla="*/ 32 h 129"/>
                <a:gd name="T26" fmla="*/ 65 w 80"/>
                <a:gd name="T27" fmla="*/ 30 h 129"/>
                <a:gd name="T28" fmla="*/ 62 w 80"/>
                <a:gd name="T29" fmla="*/ 25 h 129"/>
                <a:gd name="T30" fmla="*/ 59 w 80"/>
                <a:gd name="T31" fmla="*/ 20 h 129"/>
                <a:gd name="T32" fmla="*/ 54 w 80"/>
                <a:gd name="T33" fmla="*/ 18 h 129"/>
                <a:gd name="T34" fmla="*/ 49 w 80"/>
                <a:gd name="T35" fmla="*/ 20 h 129"/>
                <a:gd name="T36" fmla="*/ 45 w 80"/>
                <a:gd name="T37" fmla="*/ 25 h 129"/>
                <a:gd name="T38" fmla="*/ 41 w 80"/>
                <a:gd name="T39" fmla="*/ 32 h 129"/>
                <a:gd name="T40" fmla="*/ 37 w 80"/>
                <a:gd name="T41" fmla="*/ 40 h 129"/>
                <a:gd name="T42" fmla="*/ 37 w 80"/>
                <a:gd name="T43" fmla="*/ 92 h 129"/>
                <a:gd name="T44" fmla="*/ 38 w 80"/>
                <a:gd name="T45" fmla="*/ 110 h 129"/>
                <a:gd name="T46" fmla="*/ 41 w 80"/>
                <a:gd name="T47" fmla="*/ 116 h 129"/>
                <a:gd name="T48" fmla="*/ 46 w 80"/>
                <a:gd name="T49" fmla="*/ 119 h 129"/>
                <a:gd name="T50" fmla="*/ 53 w 80"/>
                <a:gd name="T51" fmla="*/ 120 h 129"/>
                <a:gd name="T52" fmla="*/ 58 w 80"/>
                <a:gd name="T53" fmla="*/ 122 h 129"/>
                <a:gd name="T54" fmla="*/ 58 w 80"/>
                <a:gd name="T55" fmla="*/ 126 h 129"/>
                <a:gd name="T56" fmla="*/ 58 w 80"/>
                <a:gd name="T57" fmla="*/ 129 h 129"/>
                <a:gd name="T58" fmla="*/ 1 w 80"/>
                <a:gd name="T59" fmla="*/ 129 h 129"/>
                <a:gd name="T60" fmla="*/ 1 w 80"/>
                <a:gd name="T61" fmla="*/ 127 h 129"/>
                <a:gd name="T62" fmla="*/ 1 w 80"/>
                <a:gd name="T63" fmla="*/ 122 h 129"/>
                <a:gd name="T64" fmla="*/ 1 w 80"/>
                <a:gd name="T65" fmla="*/ 121 h 129"/>
                <a:gd name="T66" fmla="*/ 7 w 80"/>
                <a:gd name="T67" fmla="*/ 119 h 129"/>
                <a:gd name="T68" fmla="*/ 13 w 80"/>
                <a:gd name="T69" fmla="*/ 116 h 129"/>
                <a:gd name="T70" fmla="*/ 17 w 80"/>
                <a:gd name="T71" fmla="*/ 99 h 129"/>
                <a:gd name="T72" fmla="*/ 17 w 80"/>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 h="129">
                  <a:moveTo>
                    <a:pt x="17" y="28"/>
                  </a:moveTo>
                  <a:cubicBezTo>
                    <a:pt x="15" y="23"/>
                    <a:pt x="10" y="20"/>
                    <a:pt x="0" y="16"/>
                  </a:cubicBezTo>
                  <a:cubicBezTo>
                    <a:pt x="1" y="11"/>
                    <a:pt x="1" y="11"/>
                    <a:pt x="1" y="11"/>
                  </a:cubicBezTo>
                  <a:cubicBezTo>
                    <a:pt x="29" y="1"/>
                    <a:pt x="29" y="1"/>
                    <a:pt x="29" y="1"/>
                  </a:cubicBezTo>
                  <a:cubicBezTo>
                    <a:pt x="35" y="1"/>
                    <a:pt x="35" y="1"/>
                    <a:pt x="35" y="1"/>
                  </a:cubicBezTo>
                  <a:cubicBezTo>
                    <a:pt x="37" y="27"/>
                    <a:pt x="37" y="27"/>
                    <a:pt x="37" y="27"/>
                  </a:cubicBezTo>
                  <a:cubicBezTo>
                    <a:pt x="43" y="12"/>
                    <a:pt x="49" y="4"/>
                    <a:pt x="57" y="1"/>
                  </a:cubicBezTo>
                  <a:cubicBezTo>
                    <a:pt x="59" y="1"/>
                    <a:pt x="61" y="0"/>
                    <a:pt x="64" y="0"/>
                  </a:cubicBezTo>
                  <a:cubicBezTo>
                    <a:pt x="66" y="0"/>
                    <a:pt x="69" y="1"/>
                    <a:pt x="70" y="2"/>
                  </a:cubicBezTo>
                  <a:cubicBezTo>
                    <a:pt x="72" y="2"/>
                    <a:pt x="74" y="4"/>
                    <a:pt x="75" y="5"/>
                  </a:cubicBezTo>
                  <a:cubicBezTo>
                    <a:pt x="78" y="8"/>
                    <a:pt x="80" y="12"/>
                    <a:pt x="80" y="16"/>
                  </a:cubicBezTo>
                  <a:cubicBezTo>
                    <a:pt x="80" y="18"/>
                    <a:pt x="79" y="21"/>
                    <a:pt x="78" y="24"/>
                  </a:cubicBezTo>
                  <a:cubicBezTo>
                    <a:pt x="76" y="29"/>
                    <a:pt x="73" y="32"/>
                    <a:pt x="71" y="32"/>
                  </a:cubicBezTo>
                  <a:cubicBezTo>
                    <a:pt x="68" y="32"/>
                    <a:pt x="66" y="31"/>
                    <a:pt x="65" y="30"/>
                  </a:cubicBezTo>
                  <a:cubicBezTo>
                    <a:pt x="64" y="28"/>
                    <a:pt x="62" y="27"/>
                    <a:pt x="62" y="25"/>
                  </a:cubicBezTo>
                  <a:cubicBezTo>
                    <a:pt x="61" y="23"/>
                    <a:pt x="60" y="22"/>
                    <a:pt x="59" y="20"/>
                  </a:cubicBezTo>
                  <a:cubicBezTo>
                    <a:pt x="58" y="19"/>
                    <a:pt x="56" y="18"/>
                    <a:pt x="54" y="18"/>
                  </a:cubicBezTo>
                  <a:cubicBezTo>
                    <a:pt x="53" y="18"/>
                    <a:pt x="51" y="19"/>
                    <a:pt x="49" y="20"/>
                  </a:cubicBezTo>
                  <a:cubicBezTo>
                    <a:pt x="48" y="21"/>
                    <a:pt x="46" y="23"/>
                    <a:pt x="45" y="25"/>
                  </a:cubicBezTo>
                  <a:cubicBezTo>
                    <a:pt x="43" y="27"/>
                    <a:pt x="42" y="30"/>
                    <a:pt x="41" y="32"/>
                  </a:cubicBezTo>
                  <a:cubicBezTo>
                    <a:pt x="40" y="35"/>
                    <a:pt x="38" y="38"/>
                    <a:pt x="37" y="40"/>
                  </a:cubicBezTo>
                  <a:cubicBezTo>
                    <a:pt x="37" y="92"/>
                    <a:pt x="37" y="92"/>
                    <a:pt x="37" y="92"/>
                  </a:cubicBezTo>
                  <a:cubicBezTo>
                    <a:pt x="37" y="101"/>
                    <a:pt x="38" y="107"/>
                    <a:pt x="38" y="110"/>
                  </a:cubicBezTo>
                  <a:cubicBezTo>
                    <a:pt x="39" y="113"/>
                    <a:pt x="40" y="115"/>
                    <a:pt x="41" y="116"/>
                  </a:cubicBezTo>
                  <a:cubicBezTo>
                    <a:pt x="43" y="117"/>
                    <a:pt x="44" y="118"/>
                    <a:pt x="46" y="119"/>
                  </a:cubicBezTo>
                  <a:cubicBezTo>
                    <a:pt x="48" y="119"/>
                    <a:pt x="50" y="120"/>
                    <a:pt x="53" y="120"/>
                  </a:cubicBezTo>
                  <a:cubicBezTo>
                    <a:pt x="55" y="120"/>
                    <a:pt x="57" y="121"/>
                    <a:pt x="58" y="122"/>
                  </a:cubicBezTo>
                  <a:cubicBezTo>
                    <a:pt x="58" y="126"/>
                    <a:pt x="58" y="126"/>
                    <a:pt x="58" y="126"/>
                  </a:cubicBezTo>
                  <a:cubicBezTo>
                    <a:pt x="58" y="129"/>
                    <a:pt x="58" y="129"/>
                    <a:pt x="58" y="129"/>
                  </a:cubicBezTo>
                  <a:cubicBezTo>
                    <a:pt x="1" y="129"/>
                    <a:pt x="1" y="129"/>
                    <a:pt x="1" y="129"/>
                  </a:cubicBezTo>
                  <a:cubicBezTo>
                    <a:pt x="1" y="128"/>
                    <a:pt x="1" y="128"/>
                    <a:pt x="1" y="127"/>
                  </a:cubicBezTo>
                  <a:cubicBezTo>
                    <a:pt x="1" y="122"/>
                    <a:pt x="1" y="122"/>
                    <a:pt x="1" y="122"/>
                  </a:cubicBezTo>
                  <a:cubicBezTo>
                    <a:pt x="1" y="122"/>
                    <a:pt x="1" y="121"/>
                    <a:pt x="1" y="121"/>
                  </a:cubicBezTo>
                  <a:cubicBezTo>
                    <a:pt x="3" y="120"/>
                    <a:pt x="5" y="120"/>
                    <a:pt x="7" y="119"/>
                  </a:cubicBezTo>
                  <a:cubicBezTo>
                    <a:pt x="9" y="118"/>
                    <a:pt x="11" y="117"/>
                    <a:pt x="13"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477805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4201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77373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411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33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8"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020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80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02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4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53752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922198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eeg">
    <p:spTree>
      <p:nvGrpSpPr>
        <p:cNvPr id="1" name=""/>
        <p:cNvGrpSpPr/>
        <p:nvPr/>
      </p:nvGrpSpPr>
      <p:grpSpPr>
        <a:xfrm>
          <a:off x="0" y="0"/>
          <a:ext cx="0" cy="0"/>
          <a:chOff x="0" y="0"/>
          <a:chExt cx="0" cy="0"/>
        </a:xfrm>
      </p:grpSpPr>
      <p:sp>
        <p:nvSpPr>
          <p:cNvPr id="11" name="Tijdelijke aanduiding voor voettekst 3">
            <a:extLst>
              <a:ext uri="{FF2B5EF4-FFF2-40B4-BE49-F238E27FC236}">
                <a16:creationId xmlns:a16="http://schemas.microsoft.com/office/drawing/2014/main" id="{3EFD85F8-FEB3-4833-B0BF-50D40C392CFD}"/>
              </a:ext>
            </a:extLst>
          </p:cNvPr>
          <p:cNvSpPr>
            <a:spLocks noGrp="1"/>
          </p:cNvSpPr>
          <p:nvPr>
            <p:ph type="ftr" sz="quarter" idx="11"/>
          </p:nvPr>
        </p:nvSpPr>
        <p:spPr>
          <a:xfrm>
            <a:off x="2351088" y="6488780"/>
            <a:ext cx="7489825" cy="298800"/>
          </a:xfrm>
          <a:prstGeom prst="rect">
            <a:avLst/>
          </a:prstGeom>
          <a:noFill/>
        </p:spPr>
        <p:txBody>
          <a:bodyPr vert="horz" lIns="36000" tIns="36000" rIns="36000" bIns="0" rtlCol="0" anchor="ctr">
            <a:noAutofit/>
          </a:bodyPr>
          <a:lstStyle>
            <a:lvl1pPr algn="ctr">
              <a:defRPr lang="nl-NL" sz="800" b="0" spc="0" baseline="0" smtClean="0">
                <a:latin typeface="+mn-lt"/>
                <a:ea typeface="Tahoma" panose="020B0604030504040204" pitchFamily="34" charset="0"/>
                <a:cs typeface="Tahoma" panose="020B0604030504040204" pitchFamily="34" charset="0"/>
              </a:defRPr>
            </a:lvl1pPr>
          </a:lstStyle>
          <a:p>
            <a:endParaRPr lang="en-GB"/>
          </a:p>
        </p:txBody>
      </p:sp>
      <p:sp>
        <p:nvSpPr>
          <p:cNvPr id="12" name="Tijdelijke aanduiding voor dianummer 2">
            <a:extLst>
              <a:ext uri="{FF2B5EF4-FFF2-40B4-BE49-F238E27FC236}">
                <a16:creationId xmlns:a16="http://schemas.microsoft.com/office/drawing/2014/main" id="{4EF46ACB-1886-403A-AEC7-2674AE7793E9}"/>
              </a:ext>
            </a:extLst>
          </p:cNvPr>
          <p:cNvSpPr>
            <a:spLocks noGrp="1"/>
          </p:cNvSpPr>
          <p:nvPr>
            <p:ph type="sldNum" sz="quarter" idx="10"/>
          </p:nvPr>
        </p:nvSpPr>
        <p:spPr>
          <a:xfrm>
            <a:off x="10225787" y="6488780"/>
            <a:ext cx="1651268" cy="297115"/>
          </a:xfrm>
          <a:prstGeom prst="rect">
            <a:avLst/>
          </a:prstGeom>
        </p:spPr>
        <p:txBody>
          <a:bodyPr anchor="ctr"/>
          <a:lstStyle>
            <a:lvl1pPr algn="r">
              <a:defRPr sz="800" spc="0" baseline="0">
                <a:latin typeface="+mn-lt"/>
                <a:ea typeface="Tahoma" panose="020B0604030504040204" pitchFamily="34" charset="0"/>
                <a:cs typeface="Tahoma" panose="020B0604030504040204" pitchFamily="34" charset="0"/>
              </a:defRPr>
            </a:lvl1pPr>
          </a:lstStyle>
          <a:p>
            <a:fld id="{CF6E1D9D-0919-47EF-9D08-F9C3A5761FED}" type="slidenum">
              <a:rPr lang="en-GB" smtClean="0"/>
              <a:t>‹#›</a:t>
            </a:fld>
            <a:endParaRPr lang="en-GB"/>
          </a:p>
        </p:txBody>
      </p:sp>
      <p:sp>
        <p:nvSpPr>
          <p:cNvPr id="15" name="Tijdelijke aanduiding voor datum 4">
            <a:extLst>
              <a:ext uri="{FF2B5EF4-FFF2-40B4-BE49-F238E27FC236}">
                <a16:creationId xmlns:a16="http://schemas.microsoft.com/office/drawing/2014/main" id="{3EC5C99E-7507-42DC-92AD-F9A37BF29992}"/>
              </a:ext>
            </a:extLst>
          </p:cNvPr>
          <p:cNvSpPr>
            <a:spLocks noGrp="1"/>
          </p:cNvSpPr>
          <p:nvPr>
            <p:ph type="dt" sz="half" idx="12"/>
          </p:nvPr>
        </p:nvSpPr>
        <p:spPr>
          <a:xfrm>
            <a:off x="10217702" y="0"/>
            <a:ext cx="1656384" cy="333375"/>
          </a:xfrm>
          <a:prstGeom prst="rect">
            <a:avLst/>
          </a:prstGeom>
        </p:spPr>
        <p:txBody>
          <a:bodyPr anchor="ctr"/>
          <a:lstStyle>
            <a:lvl1pPr algn="r">
              <a:defRPr sz="1000">
                <a:latin typeface="+mn-lt"/>
                <a:ea typeface="Tahoma" panose="020B0604030504040204" pitchFamily="34" charset="0"/>
                <a:cs typeface="Tahoma" panose="020B0604030504040204" pitchFamily="34" charset="0"/>
              </a:defRPr>
            </a:lvl1pPr>
          </a:lstStyle>
          <a:p>
            <a:fld id="{5DF0D5FE-2697-49FB-AA2A-37C8A436C300}" type="datetimeFigureOut">
              <a:rPr lang="en-GB" smtClean="0"/>
              <a:t>27/01/2025</a:t>
            </a:fld>
            <a:endParaRPr lang="en-GB"/>
          </a:p>
        </p:txBody>
      </p:sp>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p:nvPr>
        </p:nvSpPr>
        <p:spPr>
          <a:xfrm>
            <a:off x="407365" y="236982"/>
            <a:ext cx="11371491" cy="286057"/>
          </a:xfrm>
          <a:prstGeom prst="rect">
            <a:avLst/>
          </a:prstGeom>
        </p:spPr>
        <p:txBody>
          <a:bodyPr lIns="0" tIns="54000" rIns="0" bIns="0">
            <a:noAutofit/>
          </a:bodyPr>
          <a:lstStyle>
            <a:lvl1pPr marL="0" indent="0">
              <a:buNone/>
              <a:defRPr sz="1200" b="1">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nl-NL"/>
              <a:t>Tekststijl van het model bewerken</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p:nvPr>
        </p:nvSpPr>
        <p:spPr>
          <a:xfrm>
            <a:off x="407365" y="545898"/>
            <a:ext cx="11372153" cy="626122"/>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nl-NL"/>
              <a:t>Klik om stijl te bewerken</a:t>
            </a:r>
            <a:endParaRPr lang="en-US"/>
          </a:p>
        </p:txBody>
      </p:sp>
    </p:spTree>
    <p:extLst>
      <p:ext uri="{BB962C8B-B14F-4D97-AF65-F5344CB8AC3E}">
        <p14:creationId xmlns:p14="http://schemas.microsoft.com/office/powerpoint/2010/main" val="192642427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20490"/>
            <a:ext cx="11026774" cy="553998"/>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582996" y="218637"/>
            <a:ext cx="444876" cy="162166"/>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400"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err="1">
                <a:solidFill>
                  <a:srgbClr val="000000"/>
                </a:solidFill>
                <a:latin typeface="Segoe UI Semibold"/>
                <a:cs typeface="Segoe UI" panose="020B0502040204020203" pitchFamily="34" charset="0"/>
              </a:endParaRPr>
            </a:p>
          </p:txBody>
        </p:sp>
      </p:gr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144523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1141561" y="2748661"/>
            <a:ext cx="4954439"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394717567"/>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1606778"/>
            <a:ext cx="12192000"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22090967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2453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jdelijke aanduiding voor tekst 4">
            <a:extLst>
              <a:ext uri="{FF2B5EF4-FFF2-40B4-BE49-F238E27FC236}">
                <a16:creationId xmlns:a16="http://schemas.microsoft.com/office/drawing/2014/main" id="{B4865919-86E3-47AD-AD83-63DDE9EC6574}"/>
              </a:ext>
            </a:extLst>
          </p:cNvPr>
          <p:cNvSpPr>
            <a:spLocks noGrp="1"/>
          </p:cNvSpPr>
          <p:nvPr>
            <p:ph type="body" sz="quarter" idx="34" hasCustomPrompt="1"/>
          </p:nvPr>
        </p:nvSpPr>
        <p:spPr>
          <a:xfrm>
            <a:off x="1104000" y="600001"/>
            <a:ext cx="4391925" cy="332316"/>
          </a:xfrm>
        </p:spPr>
        <p:txBody>
          <a:bodyPr lIns="0" tIns="0" rIns="0" bIns="0"/>
          <a:lstStyle>
            <a:lvl1pPr>
              <a:lnSpc>
                <a:spcPct val="110000"/>
              </a:lnSpc>
              <a:defRPr sz="2133">
                <a:solidFill>
                  <a:schemeClr val="bg1"/>
                </a:solidFill>
                <a:latin typeface="Arial Black" panose="020B0A04020102020204" pitchFamily="34" charset="0"/>
                <a:cs typeface="Arial" panose="020B0604020202020204" pitchFamily="34" charset="0"/>
              </a:defRPr>
            </a:lvl1pPr>
          </a:lstStyle>
          <a:p>
            <a:pPr lvl="0"/>
            <a:r>
              <a:rPr lang="nl-NL"/>
              <a:t>Naam</a:t>
            </a:r>
          </a:p>
        </p:txBody>
      </p:sp>
      <p:sp>
        <p:nvSpPr>
          <p:cNvPr id="6" name="Tijdelijke aanduiding voor tekst 4">
            <a:extLst>
              <a:ext uri="{FF2B5EF4-FFF2-40B4-BE49-F238E27FC236}">
                <a16:creationId xmlns:a16="http://schemas.microsoft.com/office/drawing/2014/main" id="{A6FCBCDF-5FE6-4016-A685-4C857B35185F}"/>
              </a:ext>
            </a:extLst>
          </p:cNvPr>
          <p:cNvSpPr>
            <a:spLocks noGrp="1"/>
          </p:cNvSpPr>
          <p:nvPr>
            <p:ph type="body" sz="quarter" idx="35" hasCustomPrompt="1"/>
          </p:nvPr>
        </p:nvSpPr>
        <p:spPr>
          <a:xfrm>
            <a:off x="1104000" y="969358"/>
            <a:ext cx="4391925" cy="332316"/>
          </a:xfrm>
        </p:spPr>
        <p:txBody>
          <a:bodyPr lIns="0" tIns="0" rIns="0" bIns="0">
            <a:normAutofit/>
          </a:bodyPr>
          <a:lstStyle>
            <a:lvl1pPr>
              <a:lnSpc>
                <a:spcPct val="110000"/>
              </a:lnSpc>
              <a:defRPr sz="2133">
                <a:solidFill>
                  <a:schemeClr val="bg1"/>
                </a:solidFill>
                <a:latin typeface="Arial" panose="020B0604020202020204" pitchFamily="34" charset="0"/>
                <a:cs typeface="Arial" panose="020B0604020202020204" pitchFamily="34" charset="0"/>
              </a:defRPr>
            </a:lvl1pPr>
          </a:lstStyle>
          <a:p>
            <a:pPr lvl="0"/>
            <a:r>
              <a:rPr lang="nl-NL"/>
              <a:t>Datum of subtitel</a:t>
            </a:r>
          </a:p>
        </p:txBody>
      </p:sp>
      <p:sp>
        <p:nvSpPr>
          <p:cNvPr id="7" name="Titel 1">
            <a:extLst>
              <a:ext uri="{FF2B5EF4-FFF2-40B4-BE49-F238E27FC236}">
                <a16:creationId xmlns:a16="http://schemas.microsoft.com/office/drawing/2014/main" id="{51862408-8255-44F2-A5FE-1CB6847DF02F}"/>
              </a:ext>
            </a:extLst>
          </p:cNvPr>
          <p:cNvSpPr>
            <a:spLocks noGrp="1"/>
          </p:cNvSpPr>
          <p:nvPr>
            <p:ph type="ctrTitle" hasCustomPrompt="1"/>
          </p:nvPr>
        </p:nvSpPr>
        <p:spPr>
          <a:xfrm>
            <a:off x="1104001" y="2925942"/>
            <a:ext cx="4500956" cy="820737"/>
          </a:xfrm>
        </p:spPr>
        <p:txBody>
          <a:bodyPr wrap="square" lIns="0" tIns="0" rIns="0" bIns="0" anchor="ctr" anchorCtr="0">
            <a:spAutoFit/>
          </a:bodyPr>
          <a:lstStyle>
            <a:lvl1pPr marL="0" marR="0" indent="0" algn="l" defTabSz="473122" rtl="0" eaLnBrk="1" fontAlgn="auto" latinLnBrk="0" hangingPunct="1">
              <a:lnSpc>
                <a:spcPct val="100000"/>
              </a:lnSpc>
              <a:spcBef>
                <a:spcPct val="0"/>
              </a:spcBef>
              <a:spcAft>
                <a:spcPts val="0"/>
              </a:spcAft>
              <a:buClrTx/>
              <a:buSzTx/>
              <a:buFontTx/>
              <a:buNone/>
              <a:tabLst/>
              <a:defRPr lang="nl-NL" sz="5333" b="1" smtClean="0">
                <a:solidFill>
                  <a:schemeClr val="bg1"/>
                </a:solidFill>
                <a:effectLst/>
                <a:latin typeface="Arial Black" panose="020B0A04020102020204" pitchFamily="34" charset="0"/>
                <a:cs typeface="Arial" panose="020B0604020202020204" pitchFamily="34" charset="0"/>
              </a:defRPr>
            </a:lvl1pPr>
          </a:lstStyle>
          <a:p>
            <a:r>
              <a:rPr lang="nl-NL"/>
              <a:t>Titel</a:t>
            </a:r>
          </a:p>
        </p:txBody>
      </p:sp>
      <p:pic>
        <p:nvPicPr>
          <p:cNvPr id="10" name="Afbeelding 9">
            <a:extLst>
              <a:ext uri="{FF2B5EF4-FFF2-40B4-BE49-F238E27FC236}">
                <a16:creationId xmlns:a16="http://schemas.microsoft.com/office/drawing/2014/main" id="{F163BAC2-DA6A-47A4-82E5-F170514307A2}"/>
              </a:ext>
            </a:extLst>
          </p:cNvPr>
          <p:cNvPicPr>
            <a:picLocks noChangeAspect="1"/>
          </p:cNvPicPr>
          <p:nvPr userDrawn="1"/>
        </p:nvPicPr>
        <p:blipFill>
          <a:blip r:embed="rId3"/>
          <a:stretch>
            <a:fillRect/>
          </a:stretch>
        </p:blipFill>
        <p:spPr>
          <a:xfrm>
            <a:off x="9431223" y="5442023"/>
            <a:ext cx="2688000" cy="1384003"/>
          </a:xfrm>
          <a:prstGeom prst="rect">
            <a:avLst/>
          </a:prstGeom>
        </p:spPr>
      </p:pic>
    </p:spTree>
    <p:extLst>
      <p:ext uri="{BB962C8B-B14F-4D97-AF65-F5344CB8AC3E}">
        <p14:creationId xmlns:p14="http://schemas.microsoft.com/office/powerpoint/2010/main" val="1476947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4797893"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7" name="Tijdelijke aanduiding voor inhoud 2">
            <a:extLst>
              <a:ext uri="{FF2B5EF4-FFF2-40B4-BE49-F238E27FC236}">
                <a16:creationId xmlns:a16="http://schemas.microsoft.com/office/drawing/2014/main" id="{62D077DD-09A7-4CBA-AED9-43D3C740345A}"/>
              </a:ext>
            </a:extLst>
          </p:cNvPr>
          <p:cNvSpPr>
            <a:spLocks noGrp="1"/>
          </p:cNvSpPr>
          <p:nvPr>
            <p:ph idx="10"/>
          </p:nvPr>
        </p:nvSpPr>
        <p:spPr>
          <a:xfrm>
            <a:off x="5915083" y="2465506"/>
            <a:ext cx="480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Tree>
    <p:extLst>
      <p:ext uri="{BB962C8B-B14F-4D97-AF65-F5344CB8AC3E}">
        <p14:creationId xmlns:p14="http://schemas.microsoft.com/office/powerpoint/2010/main" val="2324812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4B45-C8D0-E8F8-0318-7F1AA0A937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A91EA2-BE92-7640-7532-0B5B9AAFCDD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9E7EB-17FC-17EC-C017-1DC66DE9942F}"/>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94CF901F-D8FD-637B-AFE5-50E28E8CF7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8ADB1-05C1-5BA3-E504-1AC98433D284}"/>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4290146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592963"/>
            <a:ext cx="3470912" cy="2275731"/>
          </a:xfrm>
        </p:spPr>
        <p:txBody>
          <a:bodyPr lIns="0" tIns="0" rIns="0" bIns="0">
            <a:normAutofit/>
          </a:bodyPr>
          <a:lstStyle>
            <a:lvl1pPr algn="l">
              <a:lnSpc>
                <a:spcPct val="100000"/>
              </a:lnSpc>
              <a:defRPr sz="4000">
                <a:solidFill>
                  <a:srgbClr val="1B60DB"/>
                </a:solidFill>
                <a:latin typeface="Arial Black" panose="020B0A04020102020204" pitchFamily="34" charset="0"/>
                <a:cs typeface="Arial" panose="020B0604020202020204" pitchFamily="34" charset="0"/>
              </a:defRPr>
            </a:lvl1pPr>
          </a:lstStyle>
          <a:p>
            <a:r>
              <a:rPr lang="nl-NL"/>
              <a:t>Titel</a:t>
            </a:r>
          </a:p>
        </p:txBody>
      </p:sp>
      <p:sp>
        <p:nvSpPr>
          <p:cNvPr id="7" name="Tijdelijke aanduiding voor inhoud 2">
            <a:extLst>
              <a:ext uri="{FF2B5EF4-FFF2-40B4-BE49-F238E27FC236}">
                <a16:creationId xmlns:a16="http://schemas.microsoft.com/office/drawing/2014/main" id="{7628121E-CE65-455A-B150-5937F73342EB}"/>
              </a:ext>
            </a:extLst>
          </p:cNvPr>
          <p:cNvSpPr>
            <a:spLocks noGrp="1"/>
          </p:cNvSpPr>
          <p:nvPr>
            <p:ph idx="1"/>
          </p:nvPr>
        </p:nvSpPr>
        <p:spPr>
          <a:xfrm>
            <a:off x="4406400" y="739201"/>
            <a:ext cx="7113600" cy="5274324"/>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2" name="Tijdelijke aanduiding voor voettekst 4">
            <a:extLst>
              <a:ext uri="{FF2B5EF4-FFF2-40B4-BE49-F238E27FC236}">
                <a16:creationId xmlns:a16="http://schemas.microsoft.com/office/drawing/2014/main" id="{63BFB1AA-3B29-43AB-94AC-E0A274A1B904}"/>
              </a:ext>
            </a:extLst>
          </p:cNvPr>
          <p:cNvSpPr>
            <a:spLocks noGrp="1"/>
          </p:cNvSpPr>
          <p:nvPr>
            <p:ph type="ftr" sz="quarter" idx="3"/>
          </p:nvPr>
        </p:nvSpPr>
        <p:spPr>
          <a:xfrm>
            <a:off x="672000" y="6386252"/>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pic>
        <p:nvPicPr>
          <p:cNvPr id="9" name="Afbeelding 8">
            <a:extLst>
              <a:ext uri="{FF2B5EF4-FFF2-40B4-BE49-F238E27FC236}">
                <a16:creationId xmlns:a16="http://schemas.microsoft.com/office/drawing/2014/main" id="{A94D5235-E129-4385-9609-45CD9B297FB5}"/>
              </a:ext>
            </a:extLst>
          </p:cNvPr>
          <p:cNvPicPr>
            <a:picLocks noChangeAspect="1"/>
          </p:cNvPicPr>
          <p:nvPr userDrawn="1"/>
        </p:nvPicPr>
        <p:blipFill>
          <a:blip r:embed="rId2"/>
          <a:stretch>
            <a:fillRect/>
          </a:stretch>
        </p:blipFill>
        <p:spPr>
          <a:xfrm>
            <a:off x="10632000" y="6011325"/>
            <a:ext cx="1224000" cy="618100"/>
          </a:xfrm>
          <a:prstGeom prst="rect">
            <a:avLst/>
          </a:prstGeom>
        </p:spPr>
      </p:pic>
    </p:spTree>
    <p:extLst>
      <p:ext uri="{BB962C8B-B14F-4D97-AF65-F5344CB8AC3E}">
        <p14:creationId xmlns:p14="http://schemas.microsoft.com/office/powerpoint/2010/main" val="22482287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el en object_leeg">
    <p:bg>
      <p:bgPr>
        <a:gradFill>
          <a:gsLst>
            <a:gs pos="100000">
              <a:srgbClr val="141251">
                <a:alpha val="0"/>
              </a:srgbClr>
            </a:gs>
            <a:gs pos="100000">
              <a:schemeClr val="bg1">
                <a:alpha val="0"/>
                <a:lumMod val="100000"/>
              </a:schemeClr>
            </a:gs>
          </a:gsLst>
          <a:lin ang="2700000" scaled="1"/>
        </a:gra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F7DEFCA8-FCC8-4DE1-93F8-365EF5280B2A}"/>
              </a:ext>
            </a:extLst>
          </p:cNvPr>
          <p:cNvSpPr>
            <a:spLocks noGrp="1"/>
          </p:cNvSpPr>
          <p:nvPr>
            <p:ph type="pic" sz="quarter" idx="11" hasCustomPrompt="1"/>
          </p:nvPr>
        </p:nvSpPr>
        <p:spPr>
          <a:xfrm>
            <a:off x="0" y="0"/>
            <a:ext cx="12192000" cy="6858000"/>
          </a:xfrm>
          <a:solidFill>
            <a:schemeClr val="bg1">
              <a:lumMod val="85000"/>
            </a:schemeClr>
          </a:solidFill>
        </p:spPr>
        <p:txBody>
          <a:bodyPr/>
          <a:lstStyle>
            <a:lvl1pPr>
              <a:defRPr/>
            </a:lvl1pPr>
          </a:lstStyle>
          <a:p>
            <a:r>
              <a:rPr lang="en-US" noProof="0"/>
              <a:t>Insert image</a:t>
            </a:r>
          </a:p>
        </p:txBody>
      </p:sp>
      <p:sp>
        <p:nvSpPr>
          <p:cNvPr id="16" name="Rechthoek 7"/>
          <p:cNvSpPr/>
          <p:nvPr userDrawn="1"/>
        </p:nvSpPr>
        <p:spPr>
          <a:xfrm>
            <a:off x="7790002" y="5276246"/>
            <a:ext cx="4409079" cy="2242933"/>
          </a:xfrm>
          <a:custGeom>
            <a:avLst/>
            <a:gdLst>
              <a:gd name="connsiteX0" fmla="*/ 0 w 3304674"/>
              <a:gd name="connsiteY0" fmla="*/ 0 h 2312068"/>
              <a:gd name="connsiteX1" fmla="*/ 3304674 w 3304674"/>
              <a:gd name="connsiteY1" fmla="*/ 0 h 2312068"/>
              <a:gd name="connsiteX2" fmla="*/ 3304674 w 3304674"/>
              <a:gd name="connsiteY2" fmla="*/ 2312068 h 2312068"/>
              <a:gd name="connsiteX3" fmla="*/ 0 w 3304674"/>
              <a:gd name="connsiteY3" fmla="*/ 2312068 h 2312068"/>
              <a:gd name="connsiteX4" fmla="*/ 0 w 3304674"/>
              <a:gd name="connsiteY4" fmla="*/ 0 h 2312068"/>
              <a:gd name="connsiteX0" fmla="*/ 0 w 3304674"/>
              <a:gd name="connsiteY0" fmla="*/ 1211179 h 3523247"/>
              <a:gd name="connsiteX1" fmla="*/ 3296653 w 3304674"/>
              <a:gd name="connsiteY1" fmla="*/ 0 h 3523247"/>
              <a:gd name="connsiteX2" fmla="*/ 3304674 w 3304674"/>
              <a:gd name="connsiteY2" fmla="*/ 3523247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432383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616868 h 3523247"/>
              <a:gd name="connsiteX3" fmla="*/ 0 w 3304674"/>
              <a:gd name="connsiteY3" fmla="*/ 3523247 h 3523247"/>
              <a:gd name="connsiteX4" fmla="*/ 0 w 3304674"/>
              <a:gd name="connsiteY4" fmla="*/ 1211179 h 3523247"/>
              <a:gd name="connsiteX0" fmla="*/ 0 w 3304674"/>
              <a:gd name="connsiteY0" fmla="*/ 1211179 h 3779920"/>
              <a:gd name="connsiteX1" fmla="*/ 3296653 w 3304674"/>
              <a:gd name="connsiteY1" fmla="*/ 0 h 3779920"/>
              <a:gd name="connsiteX2" fmla="*/ 3304674 w 3304674"/>
              <a:gd name="connsiteY2" fmla="*/ 2616868 h 3779920"/>
              <a:gd name="connsiteX3" fmla="*/ 0 w 3304674"/>
              <a:gd name="connsiteY3" fmla="*/ 3779920 h 3779920"/>
              <a:gd name="connsiteX4" fmla="*/ 0 w 3304674"/>
              <a:gd name="connsiteY4" fmla="*/ 1211179 h 3779920"/>
              <a:gd name="connsiteX0" fmla="*/ 0 w 3296670"/>
              <a:gd name="connsiteY0" fmla="*/ 1211179 h 3779920"/>
              <a:gd name="connsiteX1" fmla="*/ 3296653 w 3296670"/>
              <a:gd name="connsiteY1" fmla="*/ 0 h 3779920"/>
              <a:gd name="connsiteX2" fmla="*/ 2995111 w 3296670"/>
              <a:gd name="connsiteY2" fmla="*/ 2240631 h 3779920"/>
              <a:gd name="connsiteX3" fmla="*/ 0 w 3296670"/>
              <a:gd name="connsiteY3" fmla="*/ 3779920 h 3779920"/>
              <a:gd name="connsiteX4" fmla="*/ 0 w 3296670"/>
              <a:gd name="connsiteY4" fmla="*/ 1211179 h 3779920"/>
              <a:gd name="connsiteX0" fmla="*/ 0 w 3304673"/>
              <a:gd name="connsiteY0" fmla="*/ 1211179 h 3779920"/>
              <a:gd name="connsiteX1" fmla="*/ 3296653 w 3304673"/>
              <a:gd name="connsiteY1" fmla="*/ 0 h 3779920"/>
              <a:gd name="connsiteX2" fmla="*/ 3304673 w 3304673"/>
              <a:gd name="connsiteY2" fmla="*/ 2569243 h 3779920"/>
              <a:gd name="connsiteX3" fmla="*/ 0 w 3304673"/>
              <a:gd name="connsiteY3" fmla="*/ 3779920 h 3779920"/>
              <a:gd name="connsiteX4" fmla="*/ 0 w 3304673"/>
              <a:gd name="connsiteY4" fmla="*/ 1211179 h 3779920"/>
              <a:gd name="connsiteX0" fmla="*/ 0 w 3306809"/>
              <a:gd name="connsiteY0" fmla="*/ 1211179 h 3779920"/>
              <a:gd name="connsiteX1" fmla="*/ 3306178 w 3306809"/>
              <a:gd name="connsiteY1" fmla="*/ 0 h 3779920"/>
              <a:gd name="connsiteX2" fmla="*/ 3304673 w 3306809"/>
              <a:gd name="connsiteY2" fmla="*/ 2569243 h 3779920"/>
              <a:gd name="connsiteX3" fmla="*/ 0 w 3306809"/>
              <a:gd name="connsiteY3" fmla="*/ 3779920 h 3779920"/>
              <a:gd name="connsiteX4" fmla="*/ 0 w 3306809"/>
              <a:gd name="connsiteY4" fmla="*/ 1211179 h 3779920"/>
              <a:gd name="connsiteX0" fmla="*/ 0 w 3328387"/>
              <a:gd name="connsiteY0" fmla="*/ 0 h 2975431"/>
              <a:gd name="connsiteX1" fmla="*/ 3328212 w 3328387"/>
              <a:gd name="connsiteY1" fmla="*/ 2743876 h 2975431"/>
              <a:gd name="connsiteX2" fmla="*/ 3304673 w 3328387"/>
              <a:gd name="connsiteY2" fmla="*/ 1358064 h 2975431"/>
              <a:gd name="connsiteX3" fmla="*/ 0 w 3328387"/>
              <a:gd name="connsiteY3" fmla="*/ 2568741 h 2975431"/>
              <a:gd name="connsiteX4" fmla="*/ 0 w 3328387"/>
              <a:gd name="connsiteY4" fmla="*/ 0 h 2975431"/>
              <a:gd name="connsiteX0" fmla="*/ 0 w 3328387"/>
              <a:gd name="connsiteY0" fmla="*/ 1442233 h 1848923"/>
              <a:gd name="connsiteX1" fmla="*/ 3328212 w 3328387"/>
              <a:gd name="connsiteY1" fmla="*/ 1617368 h 1848923"/>
              <a:gd name="connsiteX2" fmla="*/ 3304673 w 3328387"/>
              <a:gd name="connsiteY2" fmla="*/ 231556 h 1848923"/>
              <a:gd name="connsiteX3" fmla="*/ 0 w 3328387"/>
              <a:gd name="connsiteY3" fmla="*/ 1442233 h 1848923"/>
              <a:gd name="connsiteX0" fmla="*/ 0 w 3306809"/>
              <a:gd name="connsiteY0" fmla="*/ 1452514 h 1682200"/>
              <a:gd name="connsiteX1" fmla="*/ 3306178 w 3306809"/>
              <a:gd name="connsiteY1" fmla="*/ 1440363 h 1682200"/>
              <a:gd name="connsiteX2" fmla="*/ 3304673 w 3306809"/>
              <a:gd name="connsiteY2" fmla="*/ 241837 h 1682200"/>
              <a:gd name="connsiteX3" fmla="*/ 0 w 3306809"/>
              <a:gd name="connsiteY3" fmla="*/ 1452514 h 1682200"/>
            </a:gdLst>
            <a:ahLst/>
            <a:cxnLst>
              <a:cxn ang="0">
                <a:pos x="connsiteX0" y="connsiteY0"/>
              </a:cxn>
              <a:cxn ang="0">
                <a:pos x="connsiteX1" y="connsiteY1"/>
              </a:cxn>
              <a:cxn ang="0">
                <a:pos x="connsiteX2" y="connsiteY2"/>
              </a:cxn>
              <a:cxn ang="0">
                <a:pos x="connsiteX3" y="connsiteY3"/>
              </a:cxn>
            </a:cxnLst>
            <a:rect l="l" t="t" r="r" b="b"/>
            <a:pathLst>
              <a:path w="3306809" h="1682200">
                <a:moveTo>
                  <a:pt x="0" y="1452514"/>
                </a:moveTo>
                <a:lnTo>
                  <a:pt x="3306178" y="1440363"/>
                </a:lnTo>
                <a:cubicBezTo>
                  <a:pt x="3308852" y="2614779"/>
                  <a:pt x="3301999" y="-932579"/>
                  <a:pt x="3304673" y="241837"/>
                </a:cubicBezTo>
                <a:lnTo>
                  <a:pt x="0" y="1452514"/>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noProof="0">
              <a:latin typeface="Arial" panose="020B0604020202020204" pitchFamily="34" charset="0"/>
            </a:endParaRPr>
          </a:p>
        </p:txBody>
      </p:sp>
      <p:sp>
        <p:nvSpPr>
          <p:cNvPr id="9" name="Tijdelijke aanduiding voor dianummer 5">
            <a:extLst>
              <a:ext uri="{FF2B5EF4-FFF2-40B4-BE49-F238E27FC236}">
                <a16:creationId xmlns:a16="http://schemas.microsoft.com/office/drawing/2014/main" id="{73F7ACDF-5EED-4E49-BDD3-8A675AC05AED}"/>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en-US" noProof="0" smtClean="0"/>
              <a:pPr/>
              <a:t>‹#›</a:t>
            </a:fld>
            <a:endParaRPr lang="en-US" noProof="0"/>
          </a:p>
        </p:txBody>
      </p:sp>
      <p:sp>
        <p:nvSpPr>
          <p:cNvPr id="11" name="Tijdelijke aanduiding voor tekst 2">
            <a:extLst>
              <a:ext uri="{FF2B5EF4-FFF2-40B4-BE49-F238E27FC236}">
                <a16:creationId xmlns:a16="http://schemas.microsoft.com/office/drawing/2014/main" id="{50A2B8DC-1730-438B-B29E-9C4FAF1543FB}"/>
              </a:ext>
            </a:extLst>
          </p:cNvPr>
          <p:cNvSpPr>
            <a:spLocks noGrp="1"/>
          </p:cNvSpPr>
          <p:nvPr>
            <p:ph type="body" sz="quarter" idx="10" hasCustomPrompt="1"/>
          </p:nvPr>
        </p:nvSpPr>
        <p:spPr>
          <a:xfrm>
            <a:off x="672000" y="583099"/>
            <a:ext cx="4535001" cy="4852500"/>
          </a:xfrm>
        </p:spPr>
        <p:txBody>
          <a:bodyPr lIns="0" tIns="0" rIns="0" bIns="0">
            <a:normAutofit/>
          </a:bodyPr>
          <a:lstStyle>
            <a:lvl1pPr>
              <a:lnSpc>
                <a:spcPct val="110000"/>
              </a:lnSpc>
              <a:spcBef>
                <a:spcPts val="0"/>
              </a:spcBef>
              <a:defRPr sz="4533">
                <a:solidFill>
                  <a:schemeClr val="bg1"/>
                </a:solidFill>
                <a:latin typeface="Arial Black" panose="020B0A04020102020204" pitchFamily="34" charset="0"/>
                <a:cs typeface="Arial" panose="020B0604020202020204" pitchFamily="34" charset="0"/>
              </a:defRPr>
            </a:lvl1pPr>
          </a:lstStyle>
          <a:p>
            <a:pPr lvl="0"/>
            <a:r>
              <a:rPr lang="en-US" noProof="0"/>
              <a:t>Title</a:t>
            </a:r>
          </a:p>
        </p:txBody>
      </p:sp>
    </p:spTree>
    <p:extLst>
      <p:ext uri="{BB962C8B-B14F-4D97-AF65-F5344CB8AC3E}">
        <p14:creationId xmlns:p14="http://schemas.microsoft.com/office/powerpoint/2010/main" val="17397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agenda_with_pictures">
    <p:bg>
      <p:bgPr>
        <a:solidFill>
          <a:schemeClr val="bg1"/>
        </a:solidFill>
        <a:effectLst/>
      </p:bgPr>
    </p:bg>
    <p:spTree>
      <p:nvGrpSpPr>
        <p:cNvPr id="1" name=""/>
        <p:cNvGrpSpPr/>
        <p:nvPr/>
      </p:nvGrpSpPr>
      <p:grpSpPr>
        <a:xfrm>
          <a:off x="0" y="0"/>
          <a:ext cx="0" cy="0"/>
          <a:chOff x="0" y="0"/>
          <a:chExt cx="0" cy="0"/>
        </a:xfrm>
      </p:grpSpPr>
      <p:sp>
        <p:nvSpPr>
          <p:cNvPr id="3" name="Rechthoek 2"/>
          <p:cNvSpPr/>
          <p:nvPr userDrawn="1"/>
        </p:nvSpPr>
        <p:spPr>
          <a:xfrm>
            <a:off x="4406400" y="672000"/>
            <a:ext cx="3384000" cy="1569720"/>
          </a:xfrm>
          <a:prstGeom prst="rect">
            <a:avLst/>
          </a:prstGeom>
          <a:solidFill>
            <a:srgbClr val="1B60DB"/>
          </a:solidFill>
          <a:ln>
            <a:solidFill>
              <a:srgbClr val="1B60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 name="Titel 1"/>
          <p:cNvSpPr>
            <a:spLocks noGrp="1"/>
          </p:cNvSpPr>
          <p:nvPr>
            <p:ph type="title" hasCustomPrompt="1"/>
          </p:nvPr>
        </p:nvSpPr>
        <p:spPr>
          <a:xfrm>
            <a:off x="672001" y="506284"/>
            <a:ext cx="2748863" cy="1143000"/>
          </a:xfrm>
        </p:spPr>
        <p:txBody>
          <a:bodyPr lIns="0" tIns="0" rIns="0" bIns="0">
            <a:noAutofit/>
          </a:bodyPr>
          <a:lstStyle>
            <a:lvl1pPr algn="l">
              <a:lnSpc>
                <a:spcPct val="11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7" name="Rechthoek 16"/>
          <p:cNvSpPr/>
          <p:nvPr userDrawn="1"/>
        </p:nvSpPr>
        <p:spPr>
          <a:xfrm>
            <a:off x="8112000" y="690513"/>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1" name="Rechthoek 20"/>
          <p:cNvSpPr/>
          <p:nvPr userDrawn="1"/>
        </p:nvSpPr>
        <p:spPr>
          <a:xfrm>
            <a:off x="4406400" y="25920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8" name="Rechthoek 27"/>
          <p:cNvSpPr/>
          <p:nvPr userDrawn="1"/>
        </p:nvSpPr>
        <p:spPr>
          <a:xfrm>
            <a:off x="4406400" y="45072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1" name="Rechthoek 30"/>
          <p:cNvSpPr/>
          <p:nvPr userDrawn="1"/>
        </p:nvSpPr>
        <p:spPr>
          <a:xfrm>
            <a:off x="8112000" y="25920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3" name="Rechthoek 32"/>
          <p:cNvSpPr/>
          <p:nvPr userDrawn="1"/>
        </p:nvSpPr>
        <p:spPr>
          <a:xfrm>
            <a:off x="8112000" y="45072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8" name="Tijdelijke aanduiding voor voettekst 4">
            <a:extLst>
              <a:ext uri="{FF2B5EF4-FFF2-40B4-BE49-F238E27FC236}">
                <a16:creationId xmlns:a16="http://schemas.microsoft.com/office/drawing/2014/main" id="{03BFA63C-6AA7-4821-BE29-7B82498EC604}"/>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39" name="Tijdelijke aanduiding voor dianummer 5">
            <a:extLst>
              <a:ext uri="{FF2B5EF4-FFF2-40B4-BE49-F238E27FC236}">
                <a16:creationId xmlns:a16="http://schemas.microsoft.com/office/drawing/2014/main" id="{7EC51D9E-88E9-4793-9A88-EFB0BC99B310}"/>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40" name="Tijdelijke aanduiding voor tekst 5">
            <a:extLst>
              <a:ext uri="{FF2B5EF4-FFF2-40B4-BE49-F238E27FC236}">
                <a16:creationId xmlns:a16="http://schemas.microsoft.com/office/drawing/2014/main" id="{4BFBB220-25E2-4274-B008-6B65DF299BE0}"/>
              </a:ext>
            </a:extLst>
          </p:cNvPr>
          <p:cNvSpPr>
            <a:spLocks noGrp="1"/>
          </p:cNvSpPr>
          <p:nvPr>
            <p:ph type="body" sz="quarter" idx="28" hasCustomPrompt="1"/>
          </p:nvPr>
        </p:nvSpPr>
        <p:spPr>
          <a:xfrm>
            <a:off x="4598573" y="844839"/>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1" name="Tijdelijke aanduiding voor tekst 5">
            <a:extLst>
              <a:ext uri="{FF2B5EF4-FFF2-40B4-BE49-F238E27FC236}">
                <a16:creationId xmlns:a16="http://schemas.microsoft.com/office/drawing/2014/main" id="{7F136786-317B-4734-91CD-6A649DBA8BE5}"/>
              </a:ext>
            </a:extLst>
          </p:cNvPr>
          <p:cNvSpPr>
            <a:spLocks noGrp="1"/>
          </p:cNvSpPr>
          <p:nvPr>
            <p:ph type="body" sz="quarter" idx="44" hasCustomPrompt="1"/>
          </p:nvPr>
        </p:nvSpPr>
        <p:spPr>
          <a:xfrm>
            <a:off x="8304173" y="84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2" name="Tijdelijke aanduiding voor tekst 5">
            <a:extLst>
              <a:ext uri="{FF2B5EF4-FFF2-40B4-BE49-F238E27FC236}">
                <a16:creationId xmlns:a16="http://schemas.microsoft.com/office/drawing/2014/main" id="{8043A883-64F8-4457-8BF0-EC8B1C896EA4}"/>
              </a:ext>
            </a:extLst>
          </p:cNvPr>
          <p:cNvSpPr>
            <a:spLocks noGrp="1"/>
          </p:cNvSpPr>
          <p:nvPr>
            <p:ph type="body" sz="quarter" idx="45" hasCustomPrompt="1"/>
          </p:nvPr>
        </p:nvSpPr>
        <p:spPr>
          <a:xfrm>
            <a:off x="45985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3" name="Tijdelijke aanduiding voor tekst 5">
            <a:extLst>
              <a:ext uri="{FF2B5EF4-FFF2-40B4-BE49-F238E27FC236}">
                <a16:creationId xmlns:a16="http://schemas.microsoft.com/office/drawing/2014/main" id="{6888FD9C-80EE-4DBB-A18F-46C00C74B1BB}"/>
              </a:ext>
            </a:extLst>
          </p:cNvPr>
          <p:cNvSpPr>
            <a:spLocks noGrp="1"/>
          </p:cNvSpPr>
          <p:nvPr>
            <p:ph type="body" sz="quarter" idx="46" hasCustomPrompt="1"/>
          </p:nvPr>
        </p:nvSpPr>
        <p:spPr>
          <a:xfrm>
            <a:off x="4598400" y="4656000"/>
            <a:ext cx="2740973"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4" name="Tijdelijke aanduiding voor tekst 5">
            <a:extLst>
              <a:ext uri="{FF2B5EF4-FFF2-40B4-BE49-F238E27FC236}">
                <a16:creationId xmlns:a16="http://schemas.microsoft.com/office/drawing/2014/main" id="{27A4605D-8C6D-4335-8034-4336245B39B1}"/>
              </a:ext>
            </a:extLst>
          </p:cNvPr>
          <p:cNvSpPr>
            <a:spLocks noGrp="1"/>
          </p:cNvSpPr>
          <p:nvPr>
            <p:ph type="body" sz="quarter" idx="47" hasCustomPrompt="1"/>
          </p:nvPr>
        </p:nvSpPr>
        <p:spPr>
          <a:xfrm>
            <a:off x="83041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5" name="Tijdelijke aanduiding voor tekst 5">
            <a:extLst>
              <a:ext uri="{FF2B5EF4-FFF2-40B4-BE49-F238E27FC236}">
                <a16:creationId xmlns:a16="http://schemas.microsoft.com/office/drawing/2014/main" id="{2D0651AE-AC47-4327-8A07-930676883A0F}"/>
              </a:ext>
            </a:extLst>
          </p:cNvPr>
          <p:cNvSpPr>
            <a:spLocks noGrp="1"/>
          </p:cNvSpPr>
          <p:nvPr>
            <p:ph type="body" sz="quarter" idx="48" hasCustomPrompt="1"/>
          </p:nvPr>
        </p:nvSpPr>
        <p:spPr>
          <a:xfrm>
            <a:off x="8304173" y="46560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Tree>
    <p:extLst>
      <p:ext uri="{BB962C8B-B14F-4D97-AF65-F5344CB8AC3E}">
        <p14:creationId xmlns:p14="http://schemas.microsoft.com/office/powerpoint/2010/main" val="589435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el en object">
    <p:bg>
      <p:bgPr>
        <a:solidFill>
          <a:schemeClr val="bg1"/>
        </a:solidFill>
        <a:effectLst/>
      </p:bgPr>
    </p:bg>
    <p:spTree>
      <p:nvGrpSpPr>
        <p:cNvPr id="1" name=""/>
        <p:cNvGrpSpPr/>
        <p:nvPr/>
      </p:nvGrpSpPr>
      <p:grpSpPr>
        <a:xfrm>
          <a:off x="0" y="0"/>
          <a:ext cx="0" cy="0"/>
          <a:chOff x="0" y="0"/>
          <a:chExt cx="0" cy="0"/>
        </a:xfrm>
      </p:grpSpPr>
      <p:pic>
        <p:nvPicPr>
          <p:cNvPr id="8" name="Afbeelding 7"/>
          <p:cNvPicPr>
            <a:picLocks noChangeAspect="1"/>
          </p:cNvPicPr>
          <p:nvPr userDrawn="1"/>
        </p:nvPicPr>
        <p:blipFill>
          <a:blip r:embed="rId2"/>
          <a:stretch>
            <a:fillRect/>
          </a:stretch>
        </p:blipFill>
        <p:spPr>
          <a:xfrm>
            <a:off x="8734096" y="5597483"/>
            <a:ext cx="3457904" cy="1260516"/>
          </a:xfrm>
          <a:prstGeom prst="rect">
            <a:avLst/>
          </a:prstGeom>
        </p:spPr>
      </p:pic>
      <p:sp>
        <p:nvSpPr>
          <p:cNvPr id="3" name="Tijdelijke aanduiding voor inhoud 2"/>
          <p:cNvSpPr>
            <a:spLocks noGrp="1"/>
          </p:cNvSpPr>
          <p:nvPr>
            <p:ph idx="1" hasCustomPrompt="1"/>
          </p:nvPr>
        </p:nvSpPr>
        <p:spPr>
          <a:xfrm>
            <a:off x="4453812" y="624001"/>
            <a:ext cx="7128587" cy="5274324"/>
          </a:xfrm>
        </p:spPr>
        <p:txBody>
          <a:bodyPr lIns="0" tIns="0" rIns="0" bIns="0">
            <a:noAutofit/>
          </a:bodyPr>
          <a:lstStyle>
            <a:lvl1pPr marL="383990" marR="0" indent="-383990" algn="l" defTabSz="1219170" rtl="0" eaLnBrk="1" fontAlgn="auto" latinLnBrk="0" hangingPunct="1">
              <a:lnSpc>
                <a:spcPct val="145000"/>
              </a:lnSpc>
              <a:spcBef>
                <a:spcPts val="0"/>
              </a:spcBef>
              <a:spcAft>
                <a:spcPts val="0"/>
              </a:spcAft>
              <a:buClrTx/>
              <a:buSzPct val="120000"/>
              <a:buFont typeface="Wingdings" charset="2"/>
              <a:buChar char="§"/>
              <a:tabLst/>
              <a:defRPr lang="nl-NL" sz="2933">
                <a:solidFill>
                  <a:schemeClr val="tx1"/>
                </a:solidFill>
                <a:effectLst/>
                <a:latin typeface="Arial" panose="020B0604020202020204" pitchFamily="34" charset="0"/>
                <a:cs typeface="Arial" panose="020B0604020202020204" pitchFamily="34" charset="0"/>
              </a:defRPr>
            </a:lvl1pPr>
            <a:lvl2pPr marL="715415"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2pPr>
            <a:lvl3pPr marL="1200121"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3pPr>
            <a:lvl4pPr>
              <a:lnSpc>
                <a:spcPts val="4267"/>
              </a:lnSpc>
              <a:spcBef>
                <a:spcPts val="0"/>
              </a:spcBef>
              <a:defRPr sz="2933"/>
            </a:lvl4pPr>
            <a:lvl5pPr>
              <a:lnSpc>
                <a:spcPts val="4267"/>
              </a:lnSpc>
              <a:spcBef>
                <a:spcPts val="0"/>
              </a:spcBef>
              <a:defRPr sz="2933"/>
            </a:lvl5pPr>
          </a:lstStyle>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ulen vorige vergadering</a:t>
            </a:r>
          </a:p>
          <a:p>
            <a:pPr marL="715415" marR="0" lvl="1"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weede niveau</a:t>
            </a:r>
          </a:p>
          <a:p>
            <a:pPr marL="1200121" marR="0" lvl="2"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er niveau</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eede agenda punt</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rde agenda punt</a:t>
            </a:r>
          </a:p>
        </p:txBody>
      </p:sp>
      <p:sp>
        <p:nvSpPr>
          <p:cNvPr id="13" name="Titel 1">
            <a:extLst>
              <a:ext uri="{FF2B5EF4-FFF2-40B4-BE49-F238E27FC236}">
                <a16:creationId xmlns:a16="http://schemas.microsoft.com/office/drawing/2014/main" id="{5DD30C88-F6F2-471A-9958-364F876C506B}"/>
              </a:ext>
            </a:extLst>
          </p:cNvPr>
          <p:cNvSpPr>
            <a:spLocks noGrp="1"/>
          </p:cNvSpPr>
          <p:nvPr>
            <p:ph type="title" hasCustomPrompt="1"/>
          </p:nvPr>
        </p:nvSpPr>
        <p:spPr>
          <a:xfrm>
            <a:off x="672001" y="672000"/>
            <a:ext cx="2781671" cy="1143000"/>
          </a:xfrm>
        </p:spPr>
        <p:txBody>
          <a:bodyPr lIns="0" tIns="0" rIns="0" bIns="0">
            <a:noAutofit/>
          </a:bodyPr>
          <a:lstStyle>
            <a:lvl1pPr algn="l">
              <a:lnSpc>
                <a:spcPct val="8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4" name="Tijdelijke aanduiding voor voettekst 4">
            <a:extLst>
              <a:ext uri="{FF2B5EF4-FFF2-40B4-BE49-F238E27FC236}">
                <a16:creationId xmlns:a16="http://schemas.microsoft.com/office/drawing/2014/main" id="{C09C6365-3422-4210-B829-109F5295EA47}"/>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5" name="Tijdelijke aanduiding voor dianummer 5">
            <a:extLst>
              <a:ext uri="{FF2B5EF4-FFF2-40B4-BE49-F238E27FC236}">
                <a16:creationId xmlns:a16="http://schemas.microsoft.com/office/drawing/2014/main" id="{9D5CDBC1-237F-47C9-83C8-65DD6C188A7E}"/>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20182523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744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1564361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BE67A7D0-418A-4865-BC9C-EA9769DEE23E}" type="slidenum">
              <a:rPr lang="en-US" smtClean="0"/>
              <a:t>‹#›</a:t>
            </a:fld>
            <a:endParaRPr lang="en-US"/>
          </a:p>
        </p:txBody>
      </p:sp>
    </p:spTree>
    <p:extLst>
      <p:ext uri="{BB962C8B-B14F-4D97-AF65-F5344CB8AC3E}">
        <p14:creationId xmlns:p14="http://schemas.microsoft.com/office/powerpoint/2010/main" val="4060122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0451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9841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32564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243465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F5C9C-2E53-A4DF-3BFD-76A0C7A06C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1FA780-3EA1-C288-A91E-90B0C10D71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9D4CC6-C08F-0FDA-980D-854C31A148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44EC70-43F4-17BD-3DA3-796AA7FA35C6}"/>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3998E98D-004B-0E5D-BEF7-E9119BEFD7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389E54-2063-0AEB-94BB-A777C84E05A2}"/>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007465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74939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10088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53624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723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486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0573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613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74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789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65B08-F65B-4449-FFAD-ECE073C0C5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F69035-782A-8794-4806-5E7016EED0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E8FBB-228A-4BA4-2A00-A6082E499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997E0D-F4F7-5DE5-0860-EAF8BFDEDA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C0E9D2-D645-397F-CF94-27048CD4553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60163E-AD75-D4E6-62D0-4709D1AF5C6B}"/>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8" name="Footer Placeholder 7">
            <a:extLst>
              <a:ext uri="{FF2B5EF4-FFF2-40B4-BE49-F238E27FC236}">
                <a16:creationId xmlns:a16="http://schemas.microsoft.com/office/drawing/2014/main" id="{A7CFF35D-FC36-FA53-8273-FA8C3FF2209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9B7249-0895-919D-6881-D0333B7B20B8}"/>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596644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246156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94773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8311533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479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482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417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101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011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408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BFCB5-566C-F05D-8D35-97DFC07362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56655-B4A6-C25E-A867-385194CFC667}"/>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4" name="Footer Placeholder 3">
            <a:extLst>
              <a:ext uri="{FF2B5EF4-FFF2-40B4-BE49-F238E27FC236}">
                <a16:creationId xmlns:a16="http://schemas.microsoft.com/office/drawing/2014/main" id="{684391B5-AA45-C21A-DC27-AFE0F5BF7E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90F410-054F-A11B-F6AC-2D700DBD07EB}"/>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061466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46167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3655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845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1577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7508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8570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81016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117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58936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180451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7FB3FA-87DE-1687-779F-1E06F8C862C0}"/>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3" name="Footer Placeholder 2">
            <a:extLst>
              <a:ext uri="{FF2B5EF4-FFF2-40B4-BE49-F238E27FC236}">
                <a16:creationId xmlns:a16="http://schemas.microsoft.com/office/drawing/2014/main" id="{F2D7CBDC-C051-9BBE-FCF7-FABAFB98FD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1B2C3A-0AA0-3E1D-B3AC-BBE3C68251BF}"/>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6987855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48919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20351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41481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54211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9993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77435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01867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0174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1840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47479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6D74E-2868-07A9-0A16-691BD9E097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D2C03F-8851-8187-C9F3-5D548A760A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F02DC-496B-CF7F-0E42-24E522087C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5CBB5-2967-8B77-FB66-F127C49D5662}"/>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CD9423F7-81FE-48C2-88DA-1B063A45E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741C69-3B71-80AA-7AC4-EAF49C9E58EE}"/>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1663799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139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399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207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7544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11493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33883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149235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317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961135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209470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4C948-20DB-6204-1C46-661B1BE680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016E00-FDD2-3837-EA6C-240BB9EF66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B4613A-23E6-80A4-78C0-83E284C28B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7A79DC-AE80-1FED-B7F9-467439D7E601}"/>
              </a:ext>
            </a:extLst>
          </p:cNvPr>
          <p:cNvSpPr>
            <a:spLocks noGrp="1"/>
          </p:cNvSpPr>
          <p:nvPr>
            <p:ph type="dt" sz="half" idx="10"/>
          </p:nvPr>
        </p:nvSpPr>
        <p:spPr/>
        <p:txBody>
          <a:bodyPr/>
          <a:lstStyle/>
          <a:p>
            <a:fld id="{F51C95AF-1B27-4F88-A495-7966231DCAA2}" type="datetimeFigureOut">
              <a:rPr lang="en-US" smtClean="0"/>
              <a:t>1/27/2025</a:t>
            </a:fld>
            <a:endParaRPr lang="en-US"/>
          </a:p>
        </p:txBody>
      </p:sp>
      <p:sp>
        <p:nvSpPr>
          <p:cNvPr id="6" name="Footer Placeholder 5">
            <a:extLst>
              <a:ext uri="{FF2B5EF4-FFF2-40B4-BE49-F238E27FC236}">
                <a16:creationId xmlns:a16="http://schemas.microsoft.com/office/drawing/2014/main" id="{21FADE82-E074-98AA-EA49-7BE96AB655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3ECF26-3AAD-E253-AAC5-E252DB8CC7CA}"/>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3886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0685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35110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3369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895214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03542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43740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0824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6841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1318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6985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oleObject" Target="../embeddings/oleObject1.bin"/><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5" Type="http://schemas.openxmlformats.org/officeDocument/2006/relationships/slideLayout" Target="../slideLayouts/slideLayout41.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77" Type="http://schemas.openxmlformats.org/officeDocument/2006/relationships/slideLayout" Target="../slideLayouts/slideLayout113.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80" Type="http://schemas.openxmlformats.org/officeDocument/2006/relationships/slideLayout" Target="../slideLayouts/slideLayout116.xml"/><Relationship Id="rId85" Type="http://schemas.openxmlformats.org/officeDocument/2006/relationships/image" Target="../media/image9.emf"/><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tags" Target="../tags/tag1.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image" Target="../media/image10.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61" Type="http://schemas.openxmlformats.org/officeDocument/2006/relationships/slideLayout" Target="../slideLayouts/slideLayout97.xml"/><Relationship Id="rId8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0.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theme" Target="../theme/theme6.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theme" Target="../theme/theme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slideLayout" Target="../slideLayouts/slideLayout250.xml"/><Relationship Id="rId47" Type="http://schemas.openxmlformats.org/officeDocument/2006/relationships/slideLayout" Target="../slideLayouts/slideLayout255.xml"/><Relationship Id="rId50" Type="http://schemas.openxmlformats.org/officeDocument/2006/relationships/slideLayout" Target="../slideLayouts/slideLayout258.xml"/><Relationship Id="rId55" Type="http://schemas.openxmlformats.org/officeDocument/2006/relationships/theme" Target="../theme/theme8.xml"/><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9" Type="http://schemas.openxmlformats.org/officeDocument/2006/relationships/slideLayout" Target="../slideLayouts/slideLayout237.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slideLayout" Target="../slideLayouts/slideLayout253.xml"/><Relationship Id="rId53" Type="http://schemas.openxmlformats.org/officeDocument/2006/relationships/slideLayout" Target="../slideLayouts/slideLayout261.xml"/><Relationship Id="rId5" Type="http://schemas.openxmlformats.org/officeDocument/2006/relationships/slideLayout" Target="../slideLayouts/slideLayout213.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slideLayout" Target="../slideLayouts/slideLayout256.xml"/><Relationship Id="rId56" Type="http://schemas.openxmlformats.org/officeDocument/2006/relationships/image" Target="../media/image70.png"/><Relationship Id="rId8" Type="http://schemas.openxmlformats.org/officeDocument/2006/relationships/slideLayout" Target="../slideLayouts/slideLayout216.xml"/><Relationship Id="rId51" Type="http://schemas.openxmlformats.org/officeDocument/2006/relationships/slideLayout" Target="../slideLayouts/slideLayout259.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slideLayout" Target="../slideLayouts/slideLayout254.xml"/><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54" Type="http://schemas.openxmlformats.org/officeDocument/2006/relationships/slideLayout" Target="../slideLayouts/slideLayout262.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slideLayout" Target="../slideLayouts/slideLayout257.xml"/><Relationship Id="rId57" Type="http://schemas.openxmlformats.org/officeDocument/2006/relationships/image" Target="../media/image71.svg"/><Relationship Id="rId10" Type="http://schemas.openxmlformats.org/officeDocument/2006/relationships/slideLayout" Target="../slideLayouts/slideLayout218.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52"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59F5B6-84DF-2108-2051-E87F89AF3D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445EEE-819F-66BA-DF04-CBB7434BF6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C8C2F-2446-7F73-3E31-BCCB29B24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51C95AF-1B27-4F88-A495-7966231DCAA2}" type="datetimeFigureOut">
              <a:rPr lang="en-US" smtClean="0"/>
              <a:t>1/27/2025</a:t>
            </a:fld>
            <a:endParaRPr lang="en-US"/>
          </a:p>
        </p:txBody>
      </p:sp>
      <p:sp>
        <p:nvSpPr>
          <p:cNvPr id="5" name="Footer Placeholder 4">
            <a:extLst>
              <a:ext uri="{FF2B5EF4-FFF2-40B4-BE49-F238E27FC236}">
                <a16:creationId xmlns:a16="http://schemas.microsoft.com/office/drawing/2014/main" id="{419B289C-B887-0476-880F-8167F81E72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3C7D7B-A426-AA37-0261-38E3634FBB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BF0EA70-7F3B-426D-A050-983C42217DB5}" type="slidenum">
              <a:rPr lang="en-US" smtClean="0"/>
              <a:t>‹#›</a:t>
            </a:fld>
            <a:endParaRPr lang="en-US"/>
          </a:p>
        </p:txBody>
      </p:sp>
    </p:spTree>
    <p:extLst>
      <p:ext uri="{BB962C8B-B14F-4D97-AF65-F5344CB8AC3E}">
        <p14:creationId xmlns:p14="http://schemas.microsoft.com/office/powerpoint/2010/main" val="20174106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Tijdelijke aanduiding voor titel 28">
            <a:extLst>
              <a:ext uri="{FF2B5EF4-FFF2-40B4-BE49-F238E27FC236}">
                <a16:creationId xmlns:a16="http://schemas.microsoft.com/office/drawing/2014/main" id="{E5BA1933-592B-4BCD-ABBC-E73499F860B9}"/>
              </a:ext>
            </a:extLst>
          </p:cNvPr>
          <p:cNvSpPr>
            <a:spLocks noGrp="1"/>
          </p:cNvSpPr>
          <p:nvPr>
            <p:ph type="title"/>
          </p:nvPr>
        </p:nvSpPr>
        <p:spPr>
          <a:xfrm>
            <a:off x="407366" y="228600"/>
            <a:ext cx="11377612" cy="322263"/>
          </a:xfrm>
          <a:prstGeom prst="rect">
            <a:avLst/>
          </a:prstGeom>
        </p:spPr>
        <p:txBody>
          <a:bodyPr lIns="0" tIns="0" rIns="0" bIns="0" anchor="t"/>
          <a:lstStyle/>
          <a:p>
            <a:pPr lvl="0"/>
            <a:endParaRPr lang="en-US"/>
          </a:p>
        </p:txBody>
      </p:sp>
      <p:sp>
        <p:nvSpPr>
          <p:cNvPr id="34" name="Tijdelijke aanduiding voor tekst 33">
            <a:extLst>
              <a:ext uri="{FF2B5EF4-FFF2-40B4-BE49-F238E27FC236}">
                <a16:creationId xmlns:a16="http://schemas.microsoft.com/office/drawing/2014/main" id="{DBC71C1D-C6DB-4E1C-B3C8-D7A4B22BB016}"/>
              </a:ext>
            </a:extLst>
          </p:cNvPr>
          <p:cNvSpPr>
            <a:spLocks noGrp="1"/>
          </p:cNvSpPr>
          <p:nvPr>
            <p:ph type="body" idx="1"/>
          </p:nvPr>
        </p:nvSpPr>
        <p:spPr>
          <a:xfrm>
            <a:off x="417819" y="1449388"/>
            <a:ext cx="11366193" cy="5000625"/>
          </a:xfrm>
          <a:prstGeom prst="rect">
            <a:avLst/>
          </a:prstGeom>
        </p:spPr>
        <p:txBody>
          <a:bodyPr vert="horz" lIns="9000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jdelijke aanduiding voor dianummer 2">
            <a:extLst>
              <a:ext uri="{FF2B5EF4-FFF2-40B4-BE49-F238E27FC236}">
                <a16:creationId xmlns:a16="http://schemas.microsoft.com/office/drawing/2014/main" id="{204AEF0B-04CF-48A2-8F4E-88299837A695}"/>
              </a:ext>
            </a:extLst>
          </p:cNvPr>
          <p:cNvSpPr>
            <a:spLocks noGrp="1"/>
          </p:cNvSpPr>
          <p:nvPr>
            <p:ph type="sldNum" sz="quarter" idx="10"/>
          </p:nvPr>
        </p:nvSpPr>
        <p:spPr>
          <a:xfrm>
            <a:off x="11006138" y="6505449"/>
            <a:ext cx="779462" cy="297115"/>
          </a:xfrm>
          <a:prstGeom prst="rect">
            <a:avLst/>
          </a:prstGeom>
        </p:spPr>
        <p:txBody>
          <a:bodyPr anchor="ctr"/>
          <a:lstStyle>
            <a:lvl1pPr algn="r">
              <a:defRPr sz="800" spc="0" baseline="0">
                <a:solidFill>
                  <a:schemeClr val="tx1">
                    <a:lumMod val="90000"/>
                    <a:lumOff val="10000"/>
                  </a:schemeClr>
                </a:solidFill>
                <a:latin typeface="+mj-lt"/>
                <a:ea typeface="Tahoma" panose="020B0604030504040204" pitchFamily="34" charset="0"/>
                <a:cs typeface="Tahoma" panose="020B0604030504040204" pitchFamily="34" charset="0"/>
              </a:defRPr>
            </a:lvl1pPr>
          </a:lstStyle>
          <a:p>
            <a:fld id="{4B790ABA-653A-437C-9E45-730FBAD999DE}" type="slidenum">
              <a:rPr lang="en-NL" smtClean="0"/>
              <a:pPr/>
              <a:t>‹#›</a:t>
            </a:fld>
            <a:endParaRPr lang="en-NL"/>
          </a:p>
        </p:txBody>
      </p:sp>
      <p:sp>
        <p:nvSpPr>
          <p:cNvPr id="9" name="Tijdelijke aanduiding voor voettekst 3">
            <a:extLst>
              <a:ext uri="{FF2B5EF4-FFF2-40B4-BE49-F238E27FC236}">
                <a16:creationId xmlns:a16="http://schemas.microsoft.com/office/drawing/2014/main" id="{0D0AE096-86DE-4109-A8B8-7281F31E8DFB}"/>
              </a:ext>
            </a:extLst>
          </p:cNvPr>
          <p:cNvSpPr>
            <a:spLocks noGrp="1"/>
          </p:cNvSpPr>
          <p:nvPr>
            <p:ph type="ftr" sz="quarter" idx="11"/>
          </p:nvPr>
        </p:nvSpPr>
        <p:spPr>
          <a:xfrm>
            <a:off x="2333625" y="6504606"/>
            <a:ext cx="7523163" cy="298800"/>
          </a:xfrm>
          <a:prstGeom prst="rect">
            <a:avLst/>
          </a:prstGeom>
          <a:noFill/>
        </p:spPr>
        <p:txBody>
          <a:bodyPr vert="horz" lIns="36000" tIns="36000" rIns="36000" bIns="0" rtlCol="0" anchor="ctr">
            <a:noAutofit/>
          </a:bodyPr>
          <a:lstStyle>
            <a:lvl1pPr algn="ctr">
              <a:defRPr lang="nl-NL" sz="800" b="0" spc="0" baseline="0" smtClean="0">
                <a:latin typeface="+mj-lt"/>
                <a:ea typeface="Tahoma" panose="020B0604030504040204" pitchFamily="34" charset="0"/>
                <a:cs typeface="Tahoma" panose="020B0604030504040204" pitchFamily="34" charset="0"/>
              </a:defRPr>
            </a:lvl1pPr>
          </a:lstStyle>
          <a:p>
            <a:endParaRPr lang="en-NL"/>
          </a:p>
        </p:txBody>
      </p:sp>
      <p:pic>
        <p:nvPicPr>
          <p:cNvPr id="6" name="Picture 7">
            <a:extLst>
              <a:ext uri="{FF2B5EF4-FFF2-40B4-BE49-F238E27FC236}">
                <a16:creationId xmlns:a16="http://schemas.microsoft.com/office/drawing/2014/main" id="{40DE5761-D14D-4F03-ACD6-7C3600011C2A}"/>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08601" y="6499036"/>
            <a:ext cx="531200" cy="23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379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xStyles>
    <p:titleStyle>
      <a:lvl1pPr algn="l" rtl="0" eaLnBrk="1" fontAlgn="base" hangingPunct="1">
        <a:lnSpc>
          <a:spcPct val="90000"/>
        </a:lnSpc>
        <a:spcBef>
          <a:spcPct val="0"/>
        </a:spcBef>
        <a:spcAft>
          <a:spcPct val="0"/>
        </a:spcAft>
        <a:defRPr lang="en-US" sz="2400" b="0" kern="1200" spc="0" baseline="0" dirty="0">
          <a:solidFill>
            <a:schemeClr val="tx1"/>
          </a:solidFill>
          <a:latin typeface="Tahoma (Headings)"/>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3600">
          <a:solidFill>
            <a:schemeClr val="bg2"/>
          </a:solidFill>
          <a:latin typeface="Radley" panose="02000503000000020003" pitchFamily="2" charset="0"/>
        </a:defRPr>
      </a:lvl2pPr>
      <a:lvl3pPr algn="l" rtl="0" eaLnBrk="1" fontAlgn="base" hangingPunct="1">
        <a:lnSpc>
          <a:spcPct val="90000"/>
        </a:lnSpc>
        <a:spcBef>
          <a:spcPct val="0"/>
        </a:spcBef>
        <a:spcAft>
          <a:spcPct val="0"/>
        </a:spcAft>
        <a:defRPr sz="3600">
          <a:solidFill>
            <a:schemeClr val="bg2"/>
          </a:solidFill>
          <a:latin typeface="Radley" panose="02000503000000020003" pitchFamily="2" charset="0"/>
        </a:defRPr>
      </a:lvl3pPr>
      <a:lvl4pPr algn="l" rtl="0" eaLnBrk="1" fontAlgn="base" hangingPunct="1">
        <a:lnSpc>
          <a:spcPct val="90000"/>
        </a:lnSpc>
        <a:spcBef>
          <a:spcPct val="0"/>
        </a:spcBef>
        <a:spcAft>
          <a:spcPct val="0"/>
        </a:spcAft>
        <a:defRPr sz="3600">
          <a:solidFill>
            <a:schemeClr val="bg2"/>
          </a:solidFill>
          <a:latin typeface="Radley" panose="02000503000000020003" pitchFamily="2" charset="0"/>
        </a:defRPr>
      </a:lvl4pPr>
      <a:lvl5pPr algn="l" rtl="0" eaLnBrk="1" fontAlgn="base" hangingPunct="1">
        <a:lnSpc>
          <a:spcPct val="90000"/>
        </a:lnSpc>
        <a:spcBef>
          <a:spcPct val="0"/>
        </a:spcBef>
        <a:spcAft>
          <a:spcPct val="0"/>
        </a:spcAft>
        <a:defRPr sz="3600">
          <a:solidFill>
            <a:schemeClr val="bg2"/>
          </a:solidFill>
          <a:latin typeface="Radley" panose="02000503000000020003" pitchFamily="2" charset="0"/>
        </a:defRPr>
      </a:lvl5pPr>
      <a:lvl6pPr marL="457200" algn="l" rtl="0" eaLnBrk="1" fontAlgn="base" hangingPunct="1">
        <a:lnSpc>
          <a:spcPct val="90000"/>
        </a:lnSpc>
        <a:spcBef>
          <a:spcPct val="0"/>
        </a:spcBef>
        <a:spcAft>
          <a:spcPct val="0"/>
        </a:spcAft>
        <a:defRPr sz="3600">
          <a:solidFill>
            <a:schemeClr val="bg2"/>
          </a:solidFill>
          <a:latin typeface="Radley" panose="02000503000000020003" pitchFamily="2" charset="0"/>
        </a:defRPr>
      </a:lvl6pPr>
      <a:lvl7pPr marL="914400" algn="l" rtl="0" eaLnBrk="1" fontAlgn="base" hangingPunct="1">
        <a:lnSpc>
          <a:spcPct val="90000"/>
        </a:lnSpc>
        <a:spcBef>
          <a:spcPct val="0"/>
        </a:spcBef>
        <a:spcAft>
          <a:spcPct val="0"/>
        </a:spcAft>
        <a:defRPr sz="3600">
          <a:solidFill>
            <a:schemeClr val="bg2"/>
          </a:solidFill>
          <a:latin typeface="Radley" panose="02000503000000020003" pitchFamily="2" charset="0"/>
        </a:defRPr>
      </a:lvl7pPr>
      <a:lvl8pPr marL="1371600" algn="l" rtl="0" eaLnBrk="1" fontAlgn="base" hangingPunct="1">
        <a:lnSpc>
          <a:spcPct val="90000"/>
        </a:lnSpc>
        <a:spcBef>
          <a:spcPct val="0"/>
        </a:spcBef>
        <a:spcAft>
          <a:spcPct val="0"/>
        </a:spcAft>
        <a:defRPr sz="3600">
          <a:solidFill>
            <a:schemeClr val="bg2"/>
          </a:solidFill>
          <a:latin typeface="Radley" panose="02000503000000020003" pitchFamily="2" charset="0"/>
        </a:defRPr>
      </a:lvl8pPr>
      <a:lvl9pPr marL="1828800" algn="l" rtl="0" eaLnBrk="1" fontAlgn="base" hangingPunct="1">
        <a:lnSpc>
          <a:spcPct val="90000"/>
        </a:lnSpc>
        <a:spcBef>
          <a:spcPct val="0"/>
        </a:spcBef>
        <a:spcAft>
          <a:spcPct val="0"/>
        </a:spcAft>
        <a:defRPr sz="3600">
          <a:solidFill>
            <a:schemeClr val="bg2"/>
          </a:solidFill>
          <a:latin typeface="Radley" panose="02000503000000020003" pitchFamily="2" charset="0"/>
        </a:defRPr>
      </a:lvl9pPr>
    </p:titleStyle>
    <p:bodyStyle>
      <a:lvl1pPr marL="263525" indent="-263525" algn="l" rtl="0" eaLnBrk="1" fontAlgn="base" hangingPunct="1">
        <a:lnSpc>
          <a:spcPct val="100000"/>
        </a:lnSpc>
        <a:spcBef>
          <a:spcPts val="600"/>
        </a:spcBef>
        <a:spcAft>
          <a:spcPct val="0"/>
        </a:spcAft>
        <a:buClr>
          <a:schemeClr val="accent1"/>
        </a:buClr>
        <a:buSzPct val="110000"/>
        <a:buFont typeface="Arial" panose="020B0604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1pPr>
      <a:lvl2pPr marL="630238"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tabLst/>
        <a:defRPr sz="1400" kern="1200" spc="0" baseline="0">
          <a:solidFill>
            <a:schemeClr val="tx1"/>
          </a:solidFill>
          <a:latin typeface="+mj-lt"/>
          <a:ea typeface="Tahoma" panose="020B0604030504040204" pitchFamily="34" charset="0"/>
          <a:cs typeface="Tahoma" panose="020B0604030504040204" pitchFamily="34" charset="0"/>
        </a:defRPr>
      </a:lvl2pPr>
      <a:lvl3pPr marL="9858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3pPr>
      <a:lvl4pPr marL="13414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4pPr>
      <a:lvl5pPr marL="1706563"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56">
          <p15:clr>
            <a:srgbClr val="F26B43"/>
          </p15:clr>
        </p15:guide>
        <p15:guide id="4" pos="701">
          <p15:clr>
            <a:srgbClr val="F26B43"/>
          </p15:clr>
        </p15:guide>
        <p15:guide id="5" pos="867">
          <p15:clr>
            <a:srgbClr val="F26B43"/>
          </p15:clr>
        </p15:guide>
        <p15:guide id="6" pos="1312">
          <p15:clr>
            <a:srgbClr val="F26B43"/>
          </p15:clr>
        </p15:guide>
        <p15:guide id="7" pos="1478">
          <p15:clr>
            <a:srgbClr val="F26B43"/>
          </p15:clr>
        </p15:guide>
        <p15:guide id="8" pos="1923">
          <p15:clr>
            <a:srgbClr val="F26B43"/>
          </p15:clr>
        </p15:guide>
        <p15:guide id="9" pos="2089">
          <p15:clr>
            <a:srgbClr val="F26B43"/>
          </p15:clr>
        </p15:guide>
        <p15:guide id="10" pos="2535">
          <p15:clr>
            <a:srgbClr val="F26B43"/>
          </p15:clr>
        </p15:guide>
        <p15:guide id="11" pos="2700">
          <p15:clr>
            <a:srgbClr val="F26B43"/>
          </p15:clr>
        </p15:guide>
        <p15:guide id="12" pos="3146">
          <p15:clr>
            <a:srgbClr val="F26B43"/>
          </p15:clr>
        </p15:guide>
        <p15:guide id="13" pos="3311">
          <p15:clr>
            <a:srgbClr val="F26B43"/>
          </p15:clr>
        </p15:guide>
        <p15:guide id="14" pos="3757">
          <p15:clr>
            <a:srgbClr val="F26B43"/>
          </p15:clr>
        </p15:guide>
        <p15:guide id="15" pos="3922">
          <p15:clr>
            <a:srgbClr val="F26B43"/>
          </p15:clr>
        </p15:guide>
        <p15:guide id="16" pos="4368">
          <p15:clr>
            <a:srgbClr val="F26B43"/>
          </p15:clr>
        </p15:guide>
        <p15:guide id="17" pos="4533">
          <p15:clr>
            <a:srgbClr val="F26B43"/>
          </p15:clr>
        </p15:guide>
        <p15:guide id="18" pos="4979">
          <p15:clr>
            <a:srgbClr val="F26B43"/>
          </p15:clr>
        </p15:guide>
        <p15:guide id="19" pos="5144">
          <p15:clr>
            <a:srgbClr val="F26B43"/>
          </p15:clr>
        </p15:guide>
        <p15:guide id="20" pos="5590">
          <p15:clr>
            <a:srgbClr val="F26B43"/>
          </p15:clr>
        </p15:guide>
        <p15:guide id="21" pos="5756">
          <p15:clr>
            <a:srgbClr val="F26B43"/>
          </p15:clr>
        </p15:guide>
        <p15:guide id="22" pos="6201">
          <p15:clr>
            <a:srgbClr val="F26B43"/>
          </p15:clr>
        </p15:guide>
        <p15:guide id="23" pos="6367">
          <p15:clr>
            <a:srgbClr val="F26B43"/>
          </p15:clr>
        </p15:guide>
        <p15:guide id="24" pos="6812">
          <p15:clr>
            <a:srgbClr val="F26B43"/>
          </p15:clr>
        </p15:guide>
        <p15:guide id="25" pos="6978">
          <p15:clr>
            <a:srgbClr val="F26B43"/>
          </p15:clr>
        </p15:guide>
        <p15:guide id="26" pos="7423">
          <p15:clr>
            <a:srgbClr val="F26B43"/>
          </p15:clr>
        </p15:guide>
        <p15:guide id="27" orient="horz">
          <p15:clr>
            <a:srgbClr val="F26B43"/>
          </p15:clr>
        </p15:guide>
        <p15:guide id="28" orient="horz" pos="4320">
          <p15:clr>
            <a:srgbClr val="F26B43"/>
          </p15:clr>
        </p15:guide>
        <p15:guide id="29" orient="horz" pos="142">
          <p15:clr>
            <a:srgbClr val="F26B43"/>
          </p15:clr>
        </p15:guide>
        <p15:guide id="30" orient="horz" pos="913">
          <p15:clr>
            <a:srgbClr val="F26B43"/>
          </p15:clr>
        </p15:guide>
        <p15:guide id="31" orient="horz" pos="4063">
          <p15:clr>
            <a:srgbClr val="F26B43"/>
          </p15:clr>
        </p15:guide>
        <p15:guide id="32" orient="horz" pos="346">
          <p15:clr>
            <a:srgbClr val="F26B43"/>
          </p15:clr>
        </p15:guide>
        <p15:guide id="33" orient="horz" pos="777">
          <p15:clr>
            <a:srgbClr val="F26B43"/>
          </p15:clr>
        </p15:guide>
        <p15:guide id="34" orient="horz" pos="2160">
          <p15:clr>
            <a:srgbClr val="F26B43"/>
          </p15:clr>
        </p15:guide>
        <p15:guide id="35" orient="horz" pos="3929">
          <p15:clr>
            <a:srgbClr val="F26B43"/>
          </p15:clr>
        </p15:guide>
        <p15:guide id="36" orient="horz" pos="24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D882C4E-8410-4B6E-BBD4-D9B849CD31C1}"/>
              </a:ext>
            </a:extLst>
          </p:cNvPr>
          <p:cNvSpPr>
            <a:spLocks noGrp="1"/>
          </p:cNvSpPr>
          <p:nvPr>
            <p:ph type="title"/>
          </p:nvPr>
        </p:nvSpPr>
        <p:spPr>
          <a:xfrm>
            <a:off x="838200" y="366184"/>
            <a:ext cx="4424680" cy="3057736"/>
          </a:xfrm>
          <a:prstGeom prst="rect">
            <a:avLst/>
          </a:prstGeom>
        </p:spPr>
        <p:txBody>
          <a:bodyPr vert="horz" lIns="91440" tIns="45720" rIns="91440" bIns="45720" rtlCol="0" anchor="t" anchorCtr="0">
            <a:noAutofit/>
          </a:bodyPr>
          <a:lstStyle/>
          <a:p>
            <a:r>
              <a:rPr lang="nl-NL"/>
              <a:t>Klik om de stijl te bewerken</a:t>
            </a:r>
          </a:p>
        </p:txBody>
      </p:sp>
      <p:sp>
        <p:nvSpPr>
          <p:cNvPr id="3" name="Tijdelijke aanduiding voor tekst 2">
            <a:extLst>
              <a:ext uri="{FF2B5EF4-FFF2-40B4-BE49-F238E27FC236}">
                <a16:creationId xmlns:a16="http://schemas.microsoft.com/office/drawing/2014/main" id="{1EEAC130-8120-4C1B-9967-2FF11A806947}"/>
              </a:ext>
            </a:extLst>
          </p:cNvPr>
          <p:cNvSpPr>
            <a:spLocks noGrp="1"/>
          </p:cNvSpPr>
          <p:nvPr>
            <p:ph type="body" idx="1"/>
          </p:nvPr>
        </p:nvSpPr>
        <p:spPr>
          <a:xfrm>
            <a:off x="5567680" y="366184"/>
            <a:ext cx="6024880" cy="4349749"/>
          </a:xfrm>
          <a:prstGeom prst="rect">
            <a:avLst/>
          </a:prstGeom>
        </p:spPr>
        <p:txBody>
          <a:bodyPr vert="horz" lIns="91440" tIns="45720" rIns="91440" bIns="45720" rtlCol="0">
            <a:normAutofit/>
          </a:bodyPr>
          <a:lstStyle/>
          <a:p>
            <a:pPr lvl="0"/>
            <a:r>
              <a:rPr lang="nl-NL" noProof="0"/>
              <a:t>Typ hier de tekst</a:t>
            </a:r>
          </a:p>
        </p:txBody>
      </p:sp>
      <p:sp>
        <p:nvSpPr>
          <p:cNvPr id="7" name="Tijdelijke aanduiding voor voettekst 4">
            <a:extLst>
              <a:ext uri="{FF2B5EF4-FFF2-40B4-BE49-F238E27FC236}">
                <a16:creationId xmlns:a16="http://schemas.microsoft.com/office/drawing/2014/main" id="{58F27988-04E4-446A-BB26-A072AB25DCB0}"/>
              </a:ext>
            </a:extLst>
          </p:cNvPr>
          <p:cNvSpPr>
            <a:spLocks noGrp="1"/>
          </p:cNvSpPr>
          <p:nvPr>
            <p:ph type="ftr" sz="quarter" idx="3"/>
          </p:nvPr>
        </p:nvSpPr>
        <p:spPr>
          <a:xfrm>
            <a:off x="838200"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8" name="Tijdelijke aanduiding voor dianummer 5">
            <a:extLst>
              <a:ext uri="{FF2B5EF4-FFF2-40B4-BE49-F238E27FC236}">
                <a16:creationId xmlns:a16="http://schemas.microsoft.com/office/drawing/2014/main" id="{B469C756-DA26-4D83-AB23-2D86129516E2}"/>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324966579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Lst>
  <p:txStyles>
    <p:titleStyle>
      <a:lvl1pPr algn="l" defTabSz="1219170" rtl="0" eaLnBrk="1" latinLnBrk="0" hangingPunct="1">
        <a:lnSpc>
          <a:spcPct val="100000"/>
        </a:lnSpc>
        <a:spcBef>
          <a:spcPct val="0"/>
        </a:spcBef>
        <a:buNone/>
        <a:defRPr sz="5600" kern="1200">
          <a:solidFill>
            <a:srgbClr val="1B60DB"/>
          </a:solidFill>
          <a:latin typeface="Arial Black" panose="020B0A04020102020204" pitchFamily="34" charset="0"/>
          <a:ea typeface="+mj-ea"/>
          <a:cs typeface="Arial" panose="020B0604020202020204" pitchFamily="34" charset="0"/>
        </a:defRPr>
      </a:lvl1pPr>
    </p:titleStyle>
    <p:bodyStyle>
      <a:lvl1pPr marL="0" indent="0" algn="l" defTabSz="1219170" rtl="0" eaLnBrk="1" latinLnBrk="0" hangingPunct="1">
        <a:lnSpc>
          <a:spcPct val="90000"/>
        </a:lnSpc>
        <a:spcBef>
          <a:spcPts val="1333"/>
        </a:spcBef>
        <a:buFont typeface="Arial" panose="020B0604020202020204" pitchFamily="34" charset="0"/>
        <a:buNone/>
        <a:defRPr sz="2400" kern="1200">
          <a:solidFill>
            <a:srgbClr val="14125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9820F7-2F3D-B5A5-C530-3CDA749BEA64}"/>
              </a:ext>
            </a:extLst>
          </p:cNvPr>
          <p:cNvGraphicFramePr>
            <a:graphicFrameLocks noChangeAspect="1"/>
          </p:cNvGraphicFramePr>
          <p:nvPr userDrawn="1">
            <p:custDataLst>
              <p:tags r:id="rId83"/>
            </p:custDataLst>
            <p:extLst>
              <p:ext uri="{D42A27DB-BD31-4B8C-83A1-F6EECF244321}">
                <p14:modId xmlns:p14="http://schemas.microsoft.com/office/powerpoint/2010/main" val="159121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25" imgH="424" progId="TCLayout.ActiveDocument.1">
                  <p:embed/>
                </p:oleObj>
              </mc:Choice>
              <mc:Fallback>
                <p:oleObj name="think-cell Slide" r:id="rId84" imgW="425" imgH="424" progId="TCLayout.ActiveDocument.1">
                  <p:embed/>
                  <p:pic>
                    <p:nvPicPr>
                      <p:cNvPr id="6" name="Object 5" hidden="1">
                        <a:extLst>
                          <a:ext uri="{FF2B5EF4-FFF2-40B4-BE49-F238E27FC236}">
                            <a16:creationId xmlns:a16="http://schemas.microsoft.com/office/drawing/2014/main" id="{C29820F7-2F3D-B5A5-C530-3CDA749BEA64}"/>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968132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 id="2147484017" r:id="rId74"/>
    <p:sldLayoutId id="2147484018" r:id="rId75"/>
    <p:sldLayoutId id="2147484019" r:id="rId76"/>
    <p:sldLayoutId id="2147484020" r:id="rId77"/>
    <p:sldLayoutId id="2147484021" r:id="rId78"/>
    <p:sldLayoutId id="2147484022" r:id="rId79"/>
    <p:sldLayoutId id="2147484023" r:id="rId80"/>
    <p:sldLayoutId id="2147484024"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3049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99471157"/>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821DCC-D00A-2447-BC1F-F99E6E2A38BD}" type="datetimeFigureOut">
              <a:rPr lang="en-US" smtClean="0"/>
              <a:t>1/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IN" smtClean="0"/>
              <a:t>‹#›</a:t>
            </a:fld>
            <a:endParaRPr lang="en-IN"/>
          </a:p>
        </p:txBody>
      </p:sp>
    </p:spTree>
    <p:extLst>
      <p:ext uri="{BB962C8B-B14F-4D97-AF65-F5344CB8AC3E}">
        <p14:creationId xmlns:p14="http://schemas.microsoft.com/office/powerpoint/2010/main" val="2084818728"/>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549902"/>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 id="2147484108" r:id="rId24"/>
    <p:sldLayoutId id="2147484109" r:id="rId25"/>
    <p:sldLayoutId id="2147484110" r:id="rId26"/>
    <p:sldLayoutId id="2147484111" r:id="rId27"/>
    <p:sldLayoutId id="2147484112" r:id="rId28"/>
    <p:sldLayoutId id="2147484113" r:id="rId29"/>
    <p:sldLayoutId id="2147484114" r:id="rId30"/>
    <p:sldLayoutId id="2147484115" r:id="rId31"/>
    <p:sldLayoutId id="2147484116" r:id="rId32"/>
    <p:sldLayoutId id="2147484117" r:id="rId33"/>
    <p:sldLayoutId id="2147484118" r:id="rId34"/>
    <p:sldLayoutId id="2147484119" r:id="rId35"/>
    <p:sldLayoutId id="2147484120" r:id="rId36"/>
    <p:sldLayoutId id="2147484121" r:id="rId37"/>
    <p:sldLayoutId id="2147484122" r:id="rId38"/>
    <p:sldLayoutId id="2147484123" r:id="rId39"/>
    <p:sldLayoutId id="214748412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2">
          <p15:clr>
            <a:srgbClr val="F26B43"/>
          </p15:clr>
        </p15:guide>
        <p15:guide id="2" pos="528">
          <p15:clr>
            <a:srgbClr val="F26B43"/>
          </p15:clr>
        </p15:guide>
        <p15:guide id="3" orient="horz" pos="3888">
          <p15:clr>
            <a:srgbClr val="F26B43"/>
          </p15:clr>
        </p15:guide>
        <p15:guide id="4" orient="horz" pos="6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0" y="6183060"/>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477405139"/>
      </p:ext>
    </p:extLst>
  </p:cSld>
  <p:clrMap bg1="dk1" tx1="lt1" bg2="dk2" tx2="lt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8" r:id="rId33"/>
    <p:sldLayoutId id="2147484159" r:id="rId34"/>
    <p:sldLayoutId id="2147484160" r:id="rId35"/>
    <p:sldLayoutId id="2147484161" r:id="rId36"/>
    <p:sldLayoutId id="2147484162" r:id="rId37"/>
    <p:sldLayoutId id="2147484163" r:id="rId38"/>
    <p:sldLayoutId id="2147484164" r:id="rId39"/>
    <p:sldLayoutId id="2147484165" r:id="rId40"/>
    <p:sldLayoutId id="2147484166" r:id="rId41"/>
    <p:sldLayoutId id="2147484167" r:id="rId42"/>
    <p:sldLayoutId id="2147484168" r:id="rId43"/>
    <p:sldLayoutId id="2147484169" r:id="rId44"/>
    <p:sldLayoutId id="2147484170" r:id="rId45"/>
    <p:sldLayoutId id="2147484171" r:id="rId46"/>
    <p:sldLayoutId id="2147484172" r:id="rId47"/>
    <p:sldLayoutId id="2147484173" r:id="rId48"/>
    <p:sldLayoutId id="2147484174" r:id="rId49"/>
    <p:sldLayoutId id="2147484175" r:id="rId50"/>
    <p:sldLayoutId id="2147484176" r:id="rId51"/>
    <p:sldLayoutId id="2147484177" r:id="rId52"/>
    <p:sldLayoutId id="2147484178" r:id="rId53"/>
    <p:sldLayoutId id="214748417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10.xml.rels><?xml version="1.0" encoding="UTF-8" standalone="yes"?>
<Relationships xmlns="http://schemas.openxmlformats.org/package/2006/relationships"><Relationship Id="rId8" Type="http://schemas.openxmlformats.org/officeDocument/2006/relationships/hyperlink" Target="https://www.flaticon.com/free-icon/email_9710260" TargetMode="External"/><Relationship Id="rId13" Type="http://schemas.openxmlformats.org/officeDocument/2006/relationships/image" Target="../media/image98.png"/><Relationship Id="rId3" Type="http://schemas.openxmlformats.org/officeDocument/2006/relationships/hyperlink" Target="https://www.flaticon.com/free-icon/ai_2814650" TargetMode="External"/><Relationship Id="rId7" Type="http://schemas.openxmlformats.org/officeDocument/2006/relationships/image" Target="../media/image94.png"/><Relationship Id="rId12" Type="http://schemas.openxmlformats.org/officeDocument/2006/relationships/image" Target="../media/image97.png"/><Relationship Id="rId2" Type="http://schemas.openxmlformats.org/officeDocument/2006/relationships/image" Target="../media/image80.png"/><Relationship Id="rId1" Type="http://schemas.openxmlformats.org/officeDocument/2006/relationships/slideLayout" Target="../slideLayouts/slideLayout222.xml"/><Relationship Id="rId6" Type="http://schemas.openxmlformats.org/officeDocument/2006/relationships/image" Target="../media/image93.png"/><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hyperlink" Target="https://www.flaticon.com/free-icon/delivery-truck_4088758" TargetMode="External"/><Relationship Id="rId4" Type="http://schemas.openxmlformats.org/officeDocument/2006/relationships/image" Target="../media/image91.png"/><Relationship Id="rId9" Type="http://schemas.openxmlformats.org/officeDocument/2006/relationships/image" Target="../media/image95.png"/></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xml"/><Relationship Id="rId1" Type="http://schemas.openxmlformats.org/officeDocument/2006/relationships/slideLayout" Target="../slideLayouts/slideLayout222.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2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1.xml"/></Relationships>
</file>

<file path=ppt/slides/_rels/slide1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03.svg"/><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azure/ai-studio/concepts/architecture"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20.xml.rels><?xml version="1.0" encoding="UTF-8" standalone="yes"?>
<Relationships xmlns="http://schemas.openxmlformats.org/package/2006/relationships"><Relationship Id="rId3" Type="http://schemas.openxmlformats.org/officeDocument/2006/relationships/hyperlink" Target="https://github.com/microsoft/promptflow" TargetMode="External"/><Relationship Id="rId2" Type="http://schemas.openxmlformats.org/officeDocument/2006/relationships/hyperlink" Target="https://shorturl.at/VbdwQ" TargetMode="External"/><Relationship Id="rId1" Type="http://schemas.openxmlformats.org/officeDocument/2006/relationships/slideLayout" Target="../slideLayouts/slideLayout159.xml"/><Relationship Id="rId4" Type="http://schemas.openxmlformats.org/officeDocument/2006/relationships/hyperlink" Target="https://microsoft.github.io/promptflow/how-to-guides/develop-a-dag-flow/index.htm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2.xml"/></Relationships>
</file>

<file path=ppt/slides/_rels/slide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22.xml"/><Relationship Id="rId4" Type="http://schemas.openxmlformats.org/officeDocument/2006/relationships/image" Target="../media/image82.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4.png"/><Relationship Id="rId4" Type="http://schemas.openxmlformats.org/officeDocument/2006/relationships/image" Target="../media/image83.png"/></Relationships>
</file>

<file path=ppt/slides/_rels/slide8.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222.xml"/><Relationship Id="rId6" Type="http://schemas.openxmlformats.org/officeDocument/2006/relationships/image" Target="../media/image87.png"/><Relationship Id="rId5" Type="http://schemas.openxmlformats.org/officeDocument/2006/relationships/hyperlink" Target="https://docs-external.u4pp.com/extensions-kit/built-in-actions/action-assistant/" TargetMode="External"/><Relationship Id="rId4" Type="http://schemas.openxmlformats.org/officeDocument/2006/relationships/image" Target="../media/image86.jpeg"/></Relationships>
</file>

<file path=ppt/slides/_rels/slide9.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425780"/>
            <a:ext cx="9144000" cy="1107996"/>
          </a:xfrm>
        </p:spPr>
        <p:txBody>
          <a:bodyPr/>
          <a:lstStyle/>
          <a:p>
            <a:r>
              <a:rPr lang="en-US" dirty="0">
                <a:cs typeface="Segoe UI"/>
              </a:rPr>
              <a:t>Azure AI Foundry Masterclass | Build Gen AI apps and copilots</a:t>
            </a:r>
            <a:endParaRPr lang="en-US" dirty="0"/>
          </a:p>
        </p:txBody>
      </p:sp>
      <p:sp>
        <p:nvSpPr>
          <p:cNvPr id="5" name="Text Placeholder 4"/>
          <p:cNvSpPr>
            <a:spLocks noGrp="1"/>
          </p:cNvSpPr>
          <p:nvPr>
            <p:ph type="body" sz="quarter" idx="12"/>
          </p:nvPr>
        </p:nvSpPr>
        <p:spPr>
          <a:xfrm>
            <a:off x="584199" y="3962400"/>
            <a:ext cx="10339439" cy="1015663"/>
          </a:xfrm>
        </p:spPr>
        <p:txBody>
          <a:bodyPr/>
          <a:lstStyle/>
          <a:p>
            <a:r>
              <a:rPr lang="en-US" dirty="0">
                <a:cs typeface="Segoe UI"/>
              </a:rPr>
              <a:t>January 2025 </a:t>
            </a:r>
          </a:p>
          <a:p>
            <a:endParaRPr lang="en-US" dirty="0">
              <a:cs typeface="Segoe UI"/>
            </a:endParaRPr>
          </a:p>
          <a:p>
            <a:r>
              <a:rPr lang="en-US" dirty="0">
                <a:cs typeface="Segoe UI"/>
              </a:rPr>
              <a:t>Hicham Zmarrou &amp; Jody </a:t>
            </a:r>
            <a:r>
              <a:rPr lang="en-US" dirty="0" err="1">
                <a:cs typeface="Segoe UI"/>
              </a:rPr>
              <a:t>Boelen</a:t>
            </a:r>
            <a:endParaRPr lang="en-US" dirty="0">
              <a:cs typeface="Segoe UI"/>
            </a:endParaRPr>
          </a:p>
        </p:txBody>
      </p:sp>
    </p:spTree>
    <p:extLst>
      <p:ext uri="{BB962C8B-B14F-4D97-AF65-F5344CB8AC3E}">
        <p14:creationId xmlns:p14="http://schemas.microsoft.com/office/powerpoint/2010/main" val="33493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1A4020F6-78AB-5E7A-78FB-B9173617A898}"/>
              </a:ext>
            </a:extLst>
          </p:cNvPr>
          <p:cNvGrpSpPr/>
          <p:nvPr/>
        </p:nvGrpSpPr>
        <p:grpSpPr>
          <a:xfrm>
            <a:off x="6286253" y="3358048"/>
            <a:ext cx="1512865" cy="991802"/>
            <a:chOff x="7638488" y="5927770"/>
            <a:chExt cx="3025730" cy="1983604"/>
          </a:xfrm>
        </p:grpSpPr>
        <p:grpSp>
          <p:nvGrpSpPr>
            <p:cNvPr id="6" name="Group 5">
              <a:extLst>
                <a:ext uri="{FF2B5EF4-FFF2-40B4-BE49-F238E27FC236}">
                  <a16:creationId xmlns:a16="http://schemas.microsoft.com/office/drawing/2014/main" id="{AAC4381C-0D41-900F-43D2-D38392FB558B}"/>
                </a:ext>
              </a:extLst>
            </p:cNvPr>
            <p:cNvGrpSpPr/>
            <p:nvPr/>
          </p:nvGrpSpPr>
          <p:grpSpPr>
            <a:xfrm>
              <a:off x="7638488" y="6111374"/>
              <a:ext cx="2595540" cy="1800000"/>
              <a:chOff x="8785870" y="11312847"/>
              <a:chExt cx="2595540" cy="1800000"/>
            </a:xfrm>
          </p:grpSpPr>
          <p:pic>
            <p:nvPicPr>
              <p:cNvPr id="7" name="Picture 6" descr="A blue and black logo&#10;&#10;Description automatically generated">
                <a:extLst>
                  <a:ext uri="{FF2B5EF4-FFF2-40B4-BE49-F238E27FC236}">
                    <a16:creationId xmlns:a16="http://schemas.microsoft.com/office/drawing/2014/main" id="{72CB7FD6-33DA-A640-FF1D-AD419E53C24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785870" y="11312847"/>
                <a:ext cx="1800000" cy="1800000"/>
              </a:xfrm>
              <a:prstGeom prst="rect">
                <a:avLst/>
              </a:prstGeom>
              <a:noFill/>
              <a:ln>
                <a:noFill/>
              </a:ln>
            </p:spPr>
          </p:pic>
          <p:pic>
            <p:nvPicPr>
              <p:cNvPr id="8" name="Picture 2" descr="AI">
                <a:hlinkClick r:id="rId3" tooltip="AI"/>
                <a:extLst>
                  <a:ext uri="{FF2B5EF4-FFF2-40B4-BE49-F238E27FC236}">
                    <a16:creationId xmlns:a16="http://schemas.microsoft.com/office/drawing/2014/main" id="{925EE779-7822-DAA3-FB2F-AC8C48F1FF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01410" y="11731935"/>
                <a:ext cx="1080000" cy="108000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a:extLst>
                <a:ext uri="{FF2B5EF4-FFF2-40B4-BE49-F238E27FC236}">
                  <a16:creationId xmlns:a16="http://schemas.microsoft.com/office/drawing/2014/main" id="{CC9734AD-3A3D-EAD8-A6ED-2267FDDC37EC}"/>
                </a:ext>
              </a:extLst>
            </p:cNvPr>
            <p:cNvSpPr txBox="1"/>
            <p:nvPr/>
          </p:nvSpPr>
          <p:spPr>
            <a:xfrm>
              <a:off x="7638488" y="5927770"/>
              <a:ext cx="3025730" cy="595034"/>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1000" b="1"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Proof of Delivery agent </a:t>
              </a:r>
            </a:p>
          </p:txBody>
        </p:sp>
      </p:grpSp>
      <p:sp>
        <p:nvSpPr>
          <p:cNvPr id="10" name="Freeform 153">
            <a:extLst>
              <a:ext uri="{FF2B5EF4-FFF2-40B4-BE49-F238E27FC236}">
                <a16:creationId xmlns:a16="http://schemas.microsoft.com/office/drawing/2014/main" id="{9D62B39D-7F9B-203E-E019-98DEE63FAA57}"/>
              </a:ext>
            </a:extLst>
          </p:cNvPr>
          <p:cNvSpPr>
            <a:spLocks noEditPoints="1"/>
          </p:cNvSpPr>
          <p:nvPr/>
        </p:nvSpPr>
        <p:spPr bwMode="auto">
          <a:xfrm>
            <a:off x="526693" y="3814714"/>
            <a:ext cx="457820" cy="418421"/>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800" kern="0">
              <a:solidFill>
                <a:srgbClr val="000000"/>
              </a:solidFill>
              <a:latin typeface="Roboto" panose="02000000000000000000" pitchFamily="2" charset="0"/>
              <a:ea typeface="Roboto" panose="02000000000000000000" pitchFamily="2" charset="0"/>
              <a:cs typeface="Roboto" panose="02000000000000000000" pitchFamily="2" charset="0"/>
              <a:sym typeface="Helvetica Neue"/>
            </a:endParaRPr>
          </a:p>
        </p:txBody>
      </p:sp>
      <p:cxnSp>
        <p:nvCxnSpPr>
          <p:cNvPr id="12" name="Straight Arrow Connector 11">
            <a:extLst>
              <a:ext uri="{FF2B5EF4-FFF2-40B4-BE49-F238E27FC236}">
                <a16:creationId xmlns:a16="http://schemas.microsoft.com/office/drawing/2014/main" id="{86AC5FBE-D1B3-8C8D-9120-B3A08B2F1FFB}"/>
              </a:ext>
            </a:extLst>
          </p:cNvPr>
          <p:cNvCxnSpPr>
            <a:cxnSpLocks/>
            <a:stCxn id="10" idx="0"/>
            <a:endCxn id="14" idx="1"/>
          </p:cNvCxnSpPr>
          <p:nvPr/>
        </p:nvCxnSpPr>
        <p:spPr>
          <a:xfrm>
            <a:off x="870677" y="4072204"/>
            <a:ext cx="1698345" cy="186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A blue and black outline of a folder&#10;&#10;Description automatically generated">
            <a:extLst>
              <a:ext uri="{FF2B5EF4-FFF2-40B4-BE49-F238E27FC236}">
                <a16:creationId xmlns:a16="http://schemas.microsoft.com/office/drawing/2014/main" id="{BF5D8776-8BBC-728D-D279-4FA99F90FA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9021" y="3849071"/>
            <a:ext cx="450000" cy="450000"/>
          </a:xfrm>
          <a:prstGeom prst="rect">
            <a:avLst/>
          </a:prstGeom>
        </p:spPr>
      </p:pic>
      <p:sp>
        <p:nvSpPr>
          <p:cNvPr id="15" name="TextBox 14">
            <a:extLst>
              <a:ext uri="{FF2B5EF4-FFF2-40B4-BE49-F238E27FC236}">
                <a16:creationId xmlns:a16="http://schemas.microsoft.com/office/drawing/2014/main" id="{EDA437DE-99F8-5EEF-4C1D-35FEB51C24AC}"/>
              </a:ext>
            </a:extLst>
          </p:cNvPr>
          <p:cNvSpPr txBox="1"/>
          <p:nvPr/>
        </p:nvSpPr>
        <p:spPr>
          <a:xfrm>
            <a:off x="2189560" y="3340767"/>
            <a:ext cx="1407644"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Emails repository with all POD update requests </a:t>
            </a:r>
          </a:p>
        </p:txBody>
      </p:sp>
      <p:sp>
        <p:nvSpPr>
          <p:cNvPr id="19" name="Rectangle 18">
            <a:extLst>
              <a:ext uri="{FF2B5EF4-FFF2-40B4-BE49-F238E27FC236}">
                <a16:creationId xmlns:a16="http://schemas.microsoft.com/office/drawing/2014/main" id="{15AF5A27-1A39-EEA5-E7AF-0D3859583133}"/>
              </a:ext>
            </a:extLst>
          </p:cNvPr>
          <p:cNvSpPr/>
          <p:nvPr/>
        </p:nvSpPr>
        <p:spPr bwMode="auto">
          <a:xfrm>
            <a:off x="2159722" y="3233748"/>
            <a:ext cx="154845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 name="Rectangle 19">
            <a:extLst>
              <a:ext uri="{FF2B5EF4-FFF2-40B4-BE49-F238E27FC236}">
                <a16:creationId xmlns:a16="http://schemas.microsoft.com/office/drawing/2014/main" id="{29982EF8-9256-32FA-04CF-CD70AAB03F57}"/>
              </a:ext>
            </a:extLst>
          </p:cNvPr>
          <p:cNvSpPr/>
          <p:nvPr/>
        </p:nvSpPr>
        <p:spPr bwMode="auto">
          <a:xfrm>
            <a:off x="6286253" y="3248304"/>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21" name="Straight Arrow Connector 20">
            <a:extLst>
              <a:ext uri="{FF2B5EF4-FFF2-40B4-BE49-F238E27FC236}">
                <a16:creationId xmlns:a16="http://schemas.microsoft.com/office/drawing/2014/main" id="{54DD4969-51C9-AE17-E68D-EF916E6D5315}"/>
              </a:ext>
            </a:extLst>
          </p:cNvPr>
          <p:cNvCxnSpPr>
            <a:cxnSpLocks/>
            <a:stCxn id="19" idx="3"/>
            <a:endCxn id="20" idx="1"/>
          </p:cNvCxnSpPr>
          <p:nvPr/>
        </p:nvCxnSpPr>
        <p:spPr>
          <a:xfrm>
            <a:off x="3708179" y="3814714"/>
            <a:ext cx="2578074" cy="1455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54CE402-98BA-7A48-7D3A-935D2ADB9CC4}"/>
              </a:ext>
            </a:extLst>
          </p:cNvPr>
          <p:cNvSpPr txBox="1"/>
          <p:nvPr/>
        </p:nvSpPr>
        <p:spPr>
          <a:xfrm>
            <a:off x="445429" y="3547126"/>
            <a:ext cx="941066"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questers</a:t>
            </a:r>
          </a:p>
        </p:txBody>
      </p:sp>
      <p:sp>
        <p:nvSpPr>
          <p:cNvPr id="34" name="TextBox 33">
            <a:extLst>
              <a:ext uri="{FF2B5EF4-FFF2-40B4-BE49-F238E27FC236}">
                <a16:creationId xmlns:a16="http://schemas.microsoft.com/office/drawing/2014/main" id="{106253A3-133A-945D-04E6-9F7EC0DE87E0}"/>
              </a:ext>
            </a:extLst>
          </p:cNvPr>
          <p:cNvSpPr txBox="1"/>
          <p:nvPr/>
        </p:nvSpPr>
        <p:spPr>
          <a:xfrm>
            <a:off x="3803580" y="3417336"/>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Read, analyses unstructured emails and chat and accurately interpret inquiries </a:t>
            </a:r>
          </a:p>
        </p:txBody>
      </p:sp>
      <p:sp>
        <p:nvSpPr>
          <p:cNvPr id="35" name="TextBox 34">
            <a:extLst>
              <a:ext uri="{FF2B5EF4-FFF2-40B4-BE49-F238E27FC236}">
                <a16:creationId xmlns:a16="http://schemas.microsoft.com/office/drawing/2014/main" id="{19CB1766-039B-1484-F70F-35A69DB32484}"/>
              </a:ext>
            </a:extLst>
          </p:cNvPr>
          <p:cNvSpPr txBox="1"/>
          <p:nvPr/>
        </p:nvSpPr>
        <p:spPr>
          <a:xfrm>
            <a:off x="3797612" y="3918325"/>
            <a:ext cx="2363480"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nderstand questions related to load, tracking, or delivery order numbers </a:t>
            </a:r>
          </a:p>
        </p:txBody>
      </p:sp>
      <p:cxnSp>
        <p:nvCxnSpPr>
          <p:cNvPr id="36" name="Straight Arrow Connector 35">
            <a:extLst>
              <a:ext uri="{FF2B5EF4-FFF2-40B4-BE49-F238E27FC236}">
                <a16:creationId xmlns:a16="http://schemas.microsoft.com/office/drawing/2014/main" id="{CFDDF021-D150-1D99-9AED-C8319CA004D7}"/>
              </a:ext>
            </a:extLst>
          </p:cNvPr>
          <p:cNvCxnSpPr>
            <a:cxnSpLocks/>
            <a:endCxn id="40" idx="1"/>
          </p:cNvCxnSpPr>
          <p:nvPr/>
        </p:nvCxnSpPr>
        <p:spPr>
          <a:xfrm>
            <a:off x="7944023" y="3777963"/>
            <a:ext cx="1607454"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pic>
        <p:nvPicPr>
          <p:cNvPr id="40" name="Picture 39" descr="A cloud with a gear and a logo&#10;&#10;Description automatically generated">
            <a:extLst>
              <a:ext uri="{FF2B5EF4-FFF2-40B4-BE49-F238E27FC236}">
                <a16:creationId xmlns:a16="http://schemas.microsoft.com/office/drawing/2014/main" id="{83A9A787-CE6C-0618-021D-5D2D153A64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1476" y="3507963"/>
            <a:ext cx="540000" cy="540000"/>
          </a:xfrm>
          <a:prstGeom prst="rect">
            <a:avLst/>
          </a:prstGeom>
        </p:spPr>
      </p:pic>
      <p:sp>
        <p:nvSpPr>
          <p:cNvPr id="41" name="TextBox 40">
            <a:extLst>
              <a:ext uri="{FF2B5EF4-FFF2-40B4-BE49-F238E27FC236}">
                <a16:creationId xmlns:a16="http://schemas.microsoft.com/office/drawing/2014/main" id="{08D6FDE1-3B83-8749-5D93-C991F729B29A}"/>
              </a:ext>
            </a:extLst>
          </p:cNvPr>
          <p:cNvSpPr txBox="1"/>
          <p:nvPr/>
        </p:nvSpPr>
        <p:spPr>
          <a:xfrm>
            <a:off x="7878487" y="4135816"/>
            <a:ext cx="1176771" cy="5078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Consult the shipment Details API </a:t>
            </a:r>
          </a:p>
        </p:txBody>
      </p:sp>
      <p:pic>
        <p:nvPicPr>
          <p:cNvPr id="2050" name="Picture 2" descr="Database">
            <a:extLst>
              <a:ext uri="{FF2B5EF4-FFF2-40B4-BE49-F238E27FC236}">
                <a16:creationId xmlns:a16="http://schemas.microsoft.com/office/drawing/2014/main" id="{8ECFCF43-A89D-A871-0C4E-3F7A1A6312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5151" y="3526881"/>
            <a:ext cx="540000" cy="540000"/>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D6CF8CE5-E61A-78C9-52F7-71D03CC4D6F5}"/>
              </a:ext>
            </a:extLst>
          </p:cNvPr>
          <p:cNvCxnSpPr>
            <a:cxnSpLocks/>
          </p:cNvCxnSpPr>
          <p:nvPr/>
        </p:nvCxnSpPr>
        <p:spPr>
          <a:xfrm flipH="1">
            <a:off x="7927827" y="3957668"/>
            <a:ext cx="1662982"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02C81AF-3EB9-DAAF-6DDC-8256DA187871}"/>
              </a:ext>
            </a:extLst>
          </p:cNvPr>
          <p:cNvCxnSpPr>
            <a:cxnSpLocks/>
          </p:cNvCxnSpPr>
          <p:nvPr/>
        </p:nvCxnSpPr>
        <p:spPr>
          <a:xfrm>
            <a:off x="10062901" y="3744342"/>
            <a:ext cx="440606" cy="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C62C235-245B-E885-80F5-0D85343DBBD8}"/>
              </a:ext>
            </a:extLst>
          </p:cNvPr>
          <p:cNvCxnSpPr>
            <a:cxnSpLocks/>
          </p:cNvCxnSpPr>
          <p:nvPr/>
        </p:nvCxnSpPr>
        <p:spPr>
          <a:xfrm flipH="1">
            <a:off x="10062901" y="3892544"/>
            <a:ext cx="440606" cy="12585"/>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67E04FE-DB70-F7BE-38BC-7AA8C93F40DE}"/>
              </a:ext>
            </a:extLst>
          </p:cNvPr>
          <p:cNvSpPr txBox="1"/>
          <p:nvPr/>
        </p:nvSpPr>
        <p:spPr>
          <a:xfrm>
            <a:off x="10386741" y="4079907"/>
            <a:ext cx="716819"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System DB</a:t>
            </a:r>
          </a:p>
        </p:txBody>
      </p:sp>
      <p:sp>
        <p:nvSpPr>
          <p:cNvPr id="54" name="Rectangle 53">
            <a:extLst>
              <a:ext uri="{FF2B5EF4-FFF2-40B4-BE49-F238E27FC236}">
                <a16:creationId xmlns:a16="http://schemas.microsoft.com/office/drawing/2014/main" id="{335A06F8-FCE1-A28A-72D0-0C9EA2A33A92}"/>
              </a:ext>
            </a:extLst>
          </p:cNvPr>
          <p:cNvSpPr/>
          <p:nvPr/>
        </p:nvSpPr>
        <p:spPr bwMode="auto">
          <a:xfrm>
            <a:off x="9409637" y="3227799"/>
            <a:ext cx="186709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cxnSp>
        <p:nvCxnSpPr>
          <p:cNvPr id="55" name="Straight Arrow Connector 54">
            <a:extLst>
              <a:ext uri="{FF2B5EF4-FFF2-40B4-BE49-F238E27FC236}">
                <a16:creationId xmlns:a16="http://schemas.microsoft.com/office/drawing/2014/main" id="{FC9E7721-BC17-23EA-E6D2-755097DF49CF}"/>
              </a:ext>
            </a:extLst>
          </p:cNvPr>
          <p:cNvCxnSpPr>
            <a:cxnSpLocks/>
          </p:cNvCxnSpPr>
          <p:nvPr/>
        </p:nvCxnSpPr>
        <p:spPr>
          <a:xfrm flipV="1">
            <a:off x="7013890" y="4410236"/>
            <a:ext cx="0" cy="1152522"/>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C441D82-4BEC-71B3-5DB5-2B23A7A7796C}"/>
              </a:ext>
            </a:extLst>
          </p:cNvPr>
          <p:cNvCxnSpPr>
            <a:cxnSpLocks/>
          </p:cNvCxnSpPr>
          <p:nvPr/>
        </p:nvCxnSpPr>
        <p:spPr>
          <a:xfrm>
            <a:off x="7266051" y="4410236"/>
            <a:ext cx="0" cy="1137966"/>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48" name="Rectangle 2047">
            <a:extLst>
              <a:ext uri="{FF2B5EF4-FFF2-40B4-BE49-F238E27FC236}">
                <a16:creationId xmlns:a16="http://schemas.microsoft.com/office/drawing/2014/main" id="{421FDD80-F47A-D008-0334-BC2B561C9C5F}"/>
              </a:ext>
            </a:extLst>
          </p:cNvPr>
          <p:cNvSpPr/>
          <p:nvPr/>
        </p:nvSpPr>
        <p:spPr bwMode="auto">
          <a:xfrm>
            <a:off x="6286253" y="5596688"/>
            <a:ext cx="1601487" cy="1161933"/>
          </a:xfrm>
          <a:prstGeom prst="rect">
            <a:avLst/>
          </a:prstGeom>
          <a:noFill/>
          <a:ln w="76200">
            <a:solidFill>
              <a:schemeClr val="accent3">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pic>
        <p:nvPicPr>
          <p:cNvPr id="3074" name="Picture 2" descr="Email">
            <a:hlinkClick r:id="rId8" tooltip="Email"/>
            <a:extLst>
              <a:ext uri="{FF2B5EF4-FFF2-40B4-BE49-F238E27FC236}">
                <a16:creationId xmlns:a16="http://schemas.microsoft.com/office/drawing/2014/main" id="{BFEA431C-48F2-2990-67ED-583F71D9C7E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73537" y="566910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elivery truck">
            <a:hlinkClick r:id="rId10" tooltip="Delivery truck"/>
            <a:extLst>
              <a:ext uri="{FF2B5EF4-FFF2-40B4-BE49-F238E27FC236}">
                <a16:creationId xmlns:a16="http://schemas.microsoft.com/office/drawing/2014/main" id="{87369C07-14A9-D633-182A-19B8266572C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20822" y="5907654"/>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2049" name="TextBox 2048">
            <a:extLst>
              <a:ext uri="{FF2B5EF4-FFF2-40B4-BE49-F238E27FC236}">
                <a16:creationId xmlns:a16="http://schemas.microsoft.com/office/drawing/2014/main" id="{9D30B93B-F2BA-67D2-5C50-49D49E547384}"/>
              </a:ext>
            </a:extLst>
          </p:cNvPr>
          <p:cNvSpPr txBox="1"/>
          <p:nvPr/>
        </p:nvSpPr>
        <p:spPr>
          <a:xfrm>
            <a:off x="7186253" y="4846244"/>
            <a:ext cx="1176771"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no POD email the Carriere  to get actual information on of the order  </a:t>
            </a:r>
          </a:p>
        </p:txBody>
      </p:sp>
      <p:cxnSp>
        <p:nvCxnSpPr>
          <p:cNvPr id="2051" name="Straight Arrow Connector 2050">
            <a:extLst>
              <a:ext uri="{FF2B5EF4-FFF2-40B4-BE49-F238E27FC236}">
                <a16:creationId xmlns:a16="http://schemas.microsoft.com/office/drawing/2014/main" id="{7C3B0824-1EBC-EADE-B814-FE8CA6B49F89}"/>
              </a:ext>
            </a:extLst>
          </p:cNvPr>
          <p:cNvCxnSpPr>
            <a:cxnSpLocks/>
          </p:cNvCxnSpPr>
          <p:nvPr/>
        </p:nvCxnSpPr>
        <p:spPr>
          <a:xfrm flipV="1">
            <a:off x="6937690" y="2449658"/>
            <a:ext cx="0" cy="769950"/>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2052" name="Straight Arrow Connector 2051">
            <a:extLst>
              <a:ext uri="{FF2B5EF4-FFF2-40B4-BE49-F238E27FC236}">
                <a16:creationId xmlns:a16="http://schemas.microsoft.com/office/drawing/2014/main" id="{BDADAB1C-1EC5-6099-AAD7-EAAB755F3FE4}"/>
              </a:ext>
            </a:extLst>
          </p:cNvPr>
          <p:cNvCxnSpPr>
            <a:cxnSpLocks/>
          </p:cNvCxnSpPr>
          <p:nvPr/>
        </p:nvCxnSpPr>
        <p:spPr>
          <a:xfrm>
            <a:off x="7189851" y="2468708"/>
            <a:ext cx="0" cy="755394"/>
          </a:xfrm>
          <a:prstGeom prst="straightConnector1">
            <a:avLst/>
          </a:prstGeom>
          <a:ln w="3810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2055" name="Rectangle 2054">
            <a:extLst>
              <a:ext uri="{FF2B5EF4-FFF2-40B4-BE49-F238E27FC236}">
                <a16:creationId xmlns:a16="http://schemas.microsoft.com/office/drawing/2014/main" id="{24D9C628-7845-EAEA-AF2F-CC063B8CF422}"/>
              </a:ext>
            </a:extLst>
          </p:cNvPr>
          <p:cNvSpPr/>
          <p:nvPr/>
        </p:nvSpPr>
        <p:spPr bwMode="auto">
          <a:xfrm>
            <a:off x="6286253" y="1305207"/>
            <a:ext cx="1601487" cy="1161933"/>
          </a:xfrm>
          <a:prstGeom prst="rect">
            <a:avLst/>
          </a:prstGeom>
          <a:noFill/>
          <a:ln w="76200">
            <a:solidFill>
              <a:srgbClr val="49C5B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defTabSz="466236" fontAlgn="base" hangingPunct="0">
              <a:spcBef>
                <a:spcPct val="0"/>
              </a:spcBef>
              <a:spcAft>
                <a:spcPct val="0"/>
              </a:spcAft>
              <a:defRPr/>
            </a:pPr>
            <a:endParaRPr lang="en-NL" sz="1000" b="1" kern="0" err="1">
              <a:solidFill>
                <a:srgbClr val="091F2C"/>
              </a:solidFill>
              <a:latin typeface="Segoe UI"/>
              <a:ea typeface="Segoe UI" pitchFamily="34" charset="0"/>
              <a:cs typeface="Segoe UI" pitchFamily="34" charset="0"/>
              <a:sym typeface="Helvetica Neue"/>
            </a:endParaRPr>
          </a:p>
        </p:txBody>
      </p:sp>
      <p:sp>
        <p:nvSpPr>
          <p:cNvPr id="2056" name="TextBox 2055">
            <a:extLst>
              <a:ext uri="{FF2B5EF4-FFF2-40B4-BE49-F238E27FC236}">
                <a16:creationId xmlns:a16="http://schemas.microsoft.com/office/drawing/2014/main" id="{1BB443D0-A9E4-F744-5341-444F1F9C45E6}"/>
              </a:ext>
            </a:extLst>
          </p:cNvPr>
          <p:cNvSpPr txBox="1"/>
          <p:nvPr/>
        </p:nvSpPr>
        <p:spPr>
          <a:xfrm>
            <a:off x="7217295" y="2576354"/>
            <a:ext cx="1677405" cy="646331"/>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If information is not complete, get forecast time for millstones through an online ML model API </a:t>
            </a:r>
          </a:p>
        </p:txBody>
      </p:sp>
      <p:pic>
        <p:nvPicPr>
          <p:cNvPr id="3078" name="Picture 6" descr="Brain">
            <a:extLst>
              <a:ext uri="{FF2B5EF4-FFF2-40B4-BE49-F238E27FC236}">
                <a16:creationId xmlns:a16="http://schemas.microsoft.com/office/drawing/2014/main" id="{258C5523-ACD4-BAA3-D77B-00B7F107E6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72685" y="157449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2058" descr="A blue and white logo&#10;&#10;Description automatically generated">
            <a:extLst>
              <a:ext uri="{FF2B5EF4-FFF2-40B4-BE49-F238E27FC236}">
                <a16:creationId xmlns:a16="http://schemas.microsoft.com/office/drawing/2014/main" id="{4D64BAFD-E777-E66D-856A-0FA33ADF9F6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87954" y="1337958"/>
            <a:ext cx="360000" cy="360000"/>
          </a:xfrm>
          <a:prstGeom prst="rect">
            <a:avLst/>
          </a:prstGeom>
        </p:spPr>
      </p:pic>
      <p:sp>
        <p:nvSpPr>
          <p:cNvPr id="2060" name="Oval 19">
            <a:extLst>
              <a:ext uri="{FF2B5EF4-FFF2-40B4-BE49-F238E27FC236}">
                <a16:creationId xmlns:a16="http://schemas.microsoft.com/office/drawing/2014/main" id="{A3D0D8DF-8F40-3834-1286-5021F275B5FB}"/>
              </a:ext>
            </a:extLst>
          </p:cNvPr>
          <p:cNvSpPr>
            <a:spLocks noChangeArrowheads="1"/>
          </p:cNvSpPr>
          <p:nvPr/>
        </p:nvSpPr>
        <p:spPr bwMode="auto">
          <a:xfrm>
            <a:off x="4764355" y="29980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1</a:t>
            </a:r>
          </a:p>
        </p:txBody>
      </p:sp>
      <p:sp>
        <p:nvSpPr>
          <p:cNvPr id="2061" name="Oval 19">
            <a:extLst>
              <a:ext uri="{FF2B5EF4-FFF2-40B4-BE49-F238E27FC236}">
                <a16:creationId xmlns:a16="http://schemas.microsoft.com/office/drawing/2014/main" id="{7C5B0922-5E69-26CD-5B84-6D82708ABB54}"/>
              </a:ext>
            </a:extLst>
          </p:cNvPr>
          <p:cNvSpPr>
            <a:spLocks noChangeArrowheads="1"/>
          </p:cNvSpPr>
          <p:nvPr/>
        </p:nvSpPr>
        <p:spPr bwMode="auto">
          <a:xfrm>
            <a:off x="8894700" y="42156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2</a:t>
            </a:r>
          </a:p>
        </p:txBody>
      </p:sp>
      <p:sp>
        <p:nvSpPr>
          <p:cNvPr id="2062" name="Oval 19">
            <a:extLst>
              <a:ext uri="{FF2B5EF4-FFF2-40B4-BE49-F238E27FC236}">
                <a16:creationId xmlns:a16="http://schemas.microsoft.com/office/drawing/2014/main" id="{974B26BD-8C17-A953-1008-EA0CA51F16BF}"/>
              </a:ext>
            </a:extLst>
          </p:cNvPr>
          <p:cNvSpPr>
            <a:spLocks noChangeArrowheads="1"/>
          </p:cNvSpPr>
          <p:nvPr/>
        </p:nvSpPr>
        <p:spPr bwMode="auto">
          <a:xfrm>
            <a:off x="10143507" y="3327963"/>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3</a:t>
            </a:r>
          </a:p>
        </p:txBody>
      </p:sp>
      <p:sp>
        <p:nvSpPr>
          <p:cNvPr id="2063" name="Oval 19">
            <a:extLst>
              <a:ext uri="{FF2B5EF4-FFF2-40B4-BE49-F238E27FC236}">
                <a16:creationId xmlns:a16="http://schemas.microsoft.com/office/drawing/2014/main" id="{624C0DA8-68A4-19FA-5FFB-9A1375023CA0}"/>
              </a:ext>
            </a:extLst>
          </p:cNvPr>
          <p:cNvSpPr>
            <a:spLocks noChangeArrowheads="1"/>
          </p:cNvSpPr>
          <p:nvPr/>
        </p:nvSpPr>
        <p:spPr bwMode="auto">
          <a:xfrm>
            <a:off x="8002793" y="329167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dirty="0">
                <a:solidFill>
                  <a:srgbClr val="FFB900"/>
                </a:solidFill>
                <a:latin typeface="Helvetica Neue"/>
                <a:sym typeface="Helvetica Neue"/>
              </a:rPr>
              <a:t>4</a:t>
            </a:r>
          </a:p>
        </p:txBody>
      </p:sp>
      <p:cxnSp>
        <p:nvCxnSpPr>
          <p:cNvPr id="2064" name="Straight Arrow Connector 2063">
            <a:extLst>
              <a:ext uri="{FF2B5EF4-FFF2-40B4-BE49-F238E27FC236}">
                <a16:creationId xmlns:a16="http://schemas.microsoft.com/office/drawing/2014/main" id="{6C6F62F8-9196-50DE-8E12-08E57D825D91}"/>
              </a:ext>
            </a:extLst>
          </p:cNvPr>
          <p:cNvCxnSpPr>
            <a:cxnSpLocks/>
            <a:endCxn id="19" idx="2"/>
          </p:cNvCxnSpPr>
          <p:nvPr/>
        </p:nvCxnSpPr>
        <p:spPr>
          <a:xfrm flipV="1">
            <a:off x="2933951" y="4395680"/>
            <a:ext cx="0" cy="528611"/>
          </a:xfrm>
          <a:prstGeom prst="straightConnector1">
            <a:avLst/>
          </a:prstGeom>
          <a:ln w="41275">
            <a:solidFill>
              <a:schemeClr val="tx1"/>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7" name="Straight Arrow Connector 2066">
            <a:extLst>
              <a:ext uri="{FF2B5EF4-FFF2-40B4-BE49-F238E27FC236}">
                <a16:creationId xmlns:a16="http://schemas.microsoft.com/office/drawing/2014/main" id="{7E071516-7D0F-31E0-98B0-C2EA6BAC3603}"/>
              </a:ext>
            </a:extLst>
          </p:cNvPr>
          <p:cNvCxnSpPr>
            <a:cxnSpLocks/>
          </p:cNvCxnSpPr>
          <p:nvPr/>
        </p:nvCxnSpPr>
        <p:spPr>
          <a:xfrm flipH="1">
            <a:off x="2924426" y="4926158"/>
            <a:ext cx="3599334" cy="0"/>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070" name="Straight Arrow Connector 2069">
            <a:extLst>
              <a:ext uri="{FF2B5EF4-FFF2-40B4-BE49-F238E27FC236}">
                <a16:creationId xmlns:a16="http://schemas.microsoft.com/office/drawing/2014/main" id="{D109D0FB-7372-D54F-95AB-32A9743D8FC7}"/>
              </a:ext>
            </a:extLst>
          </p:cNvPr>
          <p:cNvCxnSpPr>
            <a:cxnSpLocks/>
          </p:cNvCxnSpPr>
          <p:nvPr/>
        </p:nvCxnSpPr>
        <p:spPr>
          <a:xfrm flipV="1">
            <a:off x="6533284" y="4410236"/>
            <a:ext cx="0" cy="515922"/>
          </a:xfrm>
          <a:prstGeom prst="straightConnector1">
            <a:avLst/>
          </a:prstGeom>
          <a:ln w="41275">
            <a:solidFill>
              <a:schemeClr val="tx1"/>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073" name="Oval 19">
            <a:extLst>
              <a:ext uri="{FF2B5EF4-FFF2-40B4-BE49-F238E27FC236}">
                <a16:creationId xmlns:a16="http://schemas.microsoft.com/office/drawing/2014/main" id="{DF7D4966-9827-DE18-821F-C63FDDBD86D2}"/>
              </a:ext>
            </a:extLst>
          </p:cNvPr>
          <p:cNvSpPr>
            <a:spLocks noChangeArrowheads="1"/>
          </p:cNvSpPr>
          <p:nvPr/>
        </p:nvSpPr>
        <p:spPr bwMode="auto">
          <a:xfrm>
            <a:off x="6787758" y="4786326"/>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5</a:t>
            </a:r>
          </a:p>
        </p:txBody>
      </p:sp>
      <p:sp>
        <p:nvSpPr>
          <p:cNvPr id="2074" name="Oval 19">
            <a:extLst>
              <a:ext uri="{FF2B5EF4-FFF2-40B4-BE49-F238E27FC236}">
                <a16:creationId xmlns:a16="http://schemas.microsoft.com/office/drawing/2014/main" id="{3AF03379-B968-53B3-F892-A319CAA41CC6}"/>
              </a:ext>
            </a:extLst>
          </p:cNvPr>
          <p:cNvSpPr>
            <a:spLocks noChangeArrowheads="1"/>
          </p:cNvSpPr>
          <p:nvPr/>
        </p:nvSpPr>
        <p:spPr bwMode="auto">
          <a:xfrm>
            <a:off x="6549100" y="2597519"/>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6</a:t>
            </a:r>
          </a:p>
        </p:txBody>
      </p:sp>
      <p:sp>
        <p:nvSpPr>
          <p:cNvPr id="2075" name="Oval 19">
            <a:extLst>
              <a:ext uri="{FF2B5EF4-FFF2-40B4-BE49-F238E27FC236}">
                <a16:creationId xmlns:a16="http://schemas.microsoft.com/office/drawing/2014/main" id="{570C5495-8601-9343-ABE7-3600FBBA253C}"/>
              </a:ext>
            </a:extLst>
          </p:cNvPr>
          <p:cNvSpPr>
            <a:spLocks noChangeArrowheads="1"/>
          </p:cNvSpPr>
          <p:nvPr/>
        </p:nvSpPr>
        <p:spPr bwMode="auto">
          <a:xfrm>
            <a:off x="4166186" y="452338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defRPr/>
            </a:pPr>
            <a:r>
              <a:rPr lang="en-US" sz="1500" b="1" kern="0">
                <a:solidFill>
                  <a:srgbClr val="FFB900"/>
                </a:solidFill>
                <a:latin typeface="Helvetica Neue"/>
                <a:sym typeface="Helvetica Neue"/>
              </a:rPr>
              <a:t>7</a:t>
            </a:r>
          </a:p>
        </p:txBody>
      </p:sp>
      <p:sp>
        <p:nvSpPr>
          <p:cNvPr id="2080" name="TextBox 2079">
            <a:extLst>
              <a:ext uri="{FF2B5EF4-FFF2-40B4-BE49-F238E27FC236}">
                <a16:creationId xmlns:a16="http://schemas.microsoft.com/office/drawing/2014/main" id="{5672AAF8-77B3-F008-F618-2170AE7DE73E}"/>
              </a:ext>
            </a:extLst>
          </p:cNvPr>
          <p:cNvSpPr txBox="1"/>
          <p:nvPr/>
        </p:nvSpPr>
        <p:spPr>
          <a:xfrm>
            <a:off x="6161092" y="925910"/>
            <a:ext cx="1866282" cy="3693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dirty="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ML model dedicated to forecast the  delivery Millstones </a:t>
            </a:r>
          </a:p>
        </p:txBody>
      </p:sp>
      <p:sp>
        <p:nvSpPr>
          <p:cNvPr id="2081" name="TextBox 2080">
            <a:extLst>
              <a:ext uri="{FF2B5EF4-FFF2-40B4-BE49-F238E27FC236}">
                <a16:creationId xmlns:a16="http://schemas.microsoft.com/office/drawing/2014/main" id="{74BD030A-D46D-2E11-175B-759B72C12E2B}"/>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2090" name="TextBox 2089">
            <a:extLst>
              <a:ext uri="{FF2B5EF4-FFF2-40B4-BE49-F238E27FC236}">
                <a16:creationId xmlns:a16="http://schemas.microsoft.com/office/drawing/2014/main" id="{06F994D6-3B2C-EA16-9842-FD86DEC38B0E}"/>
              </a:ext>
            </a:extLst>
          </p:cNvPr>
          <p:cNvSpPr txBox="1"/>
          <p:nvPr/>
        </p:nvSpPr>
        <p:spPr>
          <a:xfrm>
            <a:off x="3122133" y="5018589"/>
            <a:ext cx="2880063" cy="230832"/>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lnSpc>
                <a:spcPct val="100000"/>
              </a:lnSpc>
              <a:buNone/>
              <a:defRPr/>
            </a:pPr>
            <a:r>
              <a:rPr lang="en-US" sz="900" kern="0">
                <a:solidFill>
                  <a:srgbClr val="BBC6D9"/>
                </a:solidFill>
                <a:latin typeface="Roboto" panose="02000000000000000000" pitchFamily="2" charset="0"/>
                <a:ea typeface="Roboto" panose="02000000000000000000" pitchFamily="2" charset="0"/>
                <a:cs typeface="Roboto" panose="02000000000000000000" pitchFamily="2" charset="0"/>
                <a:sym typeface="Helvetica Neue"/>
              </a:rPr>
              <a:t>Update requesters with (predicted) delivery time</a:t>
            </a:r>
          </a:p>
        </p:txBody>
      </p:sp>
      <p:sp>
        <p:nvSpPr>
          <p:cNvPr id="2" name="TextBox 1">
            <a:extLst>
              <a:ext uri="{FF2B5EF4-FFF2-40B4-BE49-F238E27FC236}">
                <a16:creationId xmlns:a16="http://schemas.microsoft.com/office/drawing/2014/main" id="{4D560915-DE11-A27C-BF32-3F49A8010BB0}"/>
              </a:ext>
            </a:extLst>
          </p:cNvPr>
          <p:cNvSpPr txBox="1"/>
          <p:nvPr/>
        </p:nvSpPr>
        <p:spPr>
          <a:xfrm>
            <a:off x="583762" y="559574"/>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I powered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5452493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C08A4-7125-405D-F86B-9F8FE08F5814}"/>
            </a:ext>
          </a:extLst>
        </p:cNvPr>
        <p:cNvGrpSpPr/>
        <p:nvPr/>
      </p:nvGrpSpPr>
      <p:grpSpPr>
        <a:xfrm>
          <a:off x="0" y="0"/>
          <a:ext cx="0" cy="0"/>
          <a:chOff x="0" y="0"/>
          <a:chExt cx="0" cy="0"/>
        </a:xfrm>
      </p:grpSpPr>
      <p:pic>
        <p:nvPicPr>
          <p:cNvPr id="3074" name="Picture 2">
            <a:extLst>
              <a:ext uri="{FF2B5EF4-FFF2-40B4-BE49-F238E27FC236}">
                <a16:creationId xmlns:a16="http://schemas.microsoft.com/office/drawing/2014/main" id="{577B71F0-E33A-F8F1-0AC8-B5FCF67F10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0813"/>
            <a:ext cx="12192000" cy="6554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5396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00A13-0482-D1AA-AFEA-21051D0D1AE1}"/>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BAC5A651-E330-1BB4-5297-13240FCA5E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60" y="439885"/>
            <a:ext cx="10952480" cy="5978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2352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CD1AB-CBE9-6C88-6047-F0825ECD2B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3032112-024D-4A32-6869-C1893A129B77}"/>
              </a:ext>
            </a:extLst>
          </p:cNvPr>
          <p:cNvSpPr>
            <a:spLocks noGrp="1"/>
          </p:cNvSpPr>
          <p:nvPr>
            <p:ph type="title"/>
          </p:nvPr>
        </p:nvSpPr>
        <p:spPr>
          <a:xfrm>
            <a:off x="584200" y="2979778"/>
            <a:ext cx="9144000" cy="553998"/>
          </a:xfrm>
        </p:spPr>
        <p:txBody>
          <a:bodyPr/>
          <a:lstStyle/>
          <a:p>
            <a:r>
              <a:rPr lang="en-US" dirty="0">
                <a:cs typeface="Segoe UI"/>
              </a:rPr>
              <a:t>Azure AI Foundry</a:t>
            </a:r>
            <a:endParaRPr lang="en-US" dirty="0"/>
          </a:p>
        </p:txBody>
      </p:sp>
    </p:spTree>
    <p:extLst>
      <p:ext uri="{BB962C8B-B14F-4D97-AF65-F5344CB8AC3E}">
        <p14:creationId xmlns:p14="http://schemas.microsoft.com/office/powerpoint/2010/main" val="29297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2AC36-52B6-3049-3623-C09ED24F54C4}"/>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342FEFE5-41E6-1A35-33DB-1025C52457B6}"/>
              </a:ext>
            </a:extLst>
          </p:cNvPr>
          <p:cNvSpPr>
            <a:spLocks noGrp="1"/>
          </p:cNvSpPr>
          <p:nvPr>
            <p:ph type="title"/>
          </p:nvPr>
        </p:nvSpPr>
        <p:spPr>
          <a:xfrm>
            <a:off x="174206" y="25444"/>
            <a:ext cx="10515600" cy="604800"/>
          </a:xfrm>
        </p:spPr>
        <p:txBody>
          <a:bodyPr>
            <a:normAutofit/>
          </a:bodyPr>
          <a:lstStyle/>
          <a:p>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Purpose of Azure AI Foundry</a:t>
            </a:r>
          </a:p>
        </p:txBody>
      </p:sp>
      <p:sp>
        <p:nvSpPr>
          <p:cNvPr id="2" name="Rectangle: Single Corner Rounded 3">
            <a:extLst>
              <a:ext uri="{FF2B5EF4-FFF2-40B4-BE49-F238E27FC236}">
                <a16:creationId xmlns:a16="http://schemas.microsoft.com/office/drawing/2014/main" id="{2D0636EA-58C9-BF43-C0C8-56C13EECF2F6}"/>
              </a:ext>
            </a:extLst>
          </p:cNvPr>
          <p:cNvSpPr/>
          <p:nvPr/>
        </p:nvSpPr>
        <p:spPr>
          <a:xfrm flipH="1">
            <a:off x="187653" y="1051074"/>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rganizations aim to securely integrate GenAI into their daily operations</a:t>
            </a:r>
          </a:p>
        </p:txBody>
      </p:sp>
      <p:sp>
        <p:nvSpPr>
          <p:cNvPr id="3" name="Rectangle: Single Corner Rounded 3">
            <a:extLst>
              <a:ext uri="{FF2B5EF4-FFF2-40B4-BE49-F238E27FC236}">
                <a16:creationId xmlns:a16="http://schemas.microsoft.com/office/drawing/2014/main" id="{5AE237D7-4CDB-D0CA-B454-48E11BB50F66}"/>
              </a:ext>
            </a:extLst>
          </p:cNvPr>
          <p:cNvSpPr/>
          <p:nvPr/>
        </p:nvSpPr>
        <p:spPr>
          <a:xfrm flipH="1">
            <a:off x="174204" y="2548181"/>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000" dirty="0">
                <a:solidFill>
                  <a:prstClr val="white"/>
                </a:solidFill>
                <a:latin typeface="Roboto" panose="02000000000000000000" pitchFamily="2" charset="0"/>
                <a:ea typeface="Roboto" panose="02000000000000000000" pitchFamily="2" charset="0"/>
                <a:cs typeface="Roboto" panose="02000000000000000000" pitchFamily="2" charset="0"/>
              </a:rPr>
              <a:t>New solutions and advancements emerge daily across various platforms and sources</a:t>
            </a:r>
            <a:endParaRPr lang="en-US" sz="1000" dirty="0">
              <a:latin typeface="Roboto" panose="02000000000000000000" pitchFamily="2" charset="0"/>
              <a:ea typeface="Roboto" panose="02000000000000000000" pitchFamily="2" charset="0"/>
              <a:cs typeface="Roboto" panose="02000000000000000000" pitchFamily="2" charset="0"/>
            </a:endParaRPr>
          </a:p>
        </p:txBody>
      </p:sp>
      <p:sp>
        <p:nvSpPr>
          <p:cNvPr id="4" name="Rectangle: Single Corner Rounded 3">
            <a:extLst>
              <a:ext uri="{FF2B5EF4-FFF2-40B4-BE49-F238E27FC236}">
                <a16:creationId xmlns:a16="http://schemas.microsoft.com/office/drawing/2014/main" id="{B6DB4A1D-2476-3B34-E0C0-6CD42625FCED}"/>
              </a:ext>
            </a:extLst>
          </p:cNvPr>
          <p:cNvSpPr/>
          <p:nvPr/>
        </p:nvSpPr>
        <p:spPr>
          <a:xfrm flipH="1">
            <a:off x="174202" y="401839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are most effective when securely integrated with an organization's internal data and knowledge</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 name="Rectangle: Single Corner Rounded 3">
            <a:extLst>
              <a:ext uri="{FF2B5EF4-FFF2-40B4-BE49-F238E27FC236}">
                <a16:creationId xmlns:a16="http://schemas.microsoft.com/office/drawing/2014/main" id="{988620DB-A0E0-5F72-4302-C9FE585F271D}"/>
              </a:ext>
            </a:extLst>
          </p:cNvPr>
          <p:cNvSpPr/>
          <p:nvPr/>
        </p:nvSpPr>
        <p:spPr>
          <a:xfrm flipH="1">
            <a:off x="187653" y="5347412"/>
            <a:ext cx="2160000" cy="720000"/>
          </a:xfrm>
          <a:prstGeom prst="round1Rect">
            <a:avLst/>
          </a:prstGeom>
          <a:gradFill flip="none" rotWithShape="1">
            <a:gsLst>
              <a:gs pos="100000">
                <a:srgbClr val="233A59"/>
              </a:gs>
              <a:gs pos="33000">
                <a:srgbClr val="3C649A"/>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spcBef>
                <a:spcPts val="0"/>
              </a:spcBef>
              <a:spcAft>
                <a:spcPts val="0"/>
              </a:spcAft>
              <a:buClrTx/>
              <a:buSzTx/>
              <a:buFontTx/>
              <a:buNone/>
              <a:tabLst/>
              <a:defRPr/>
            </a:pPr>
            <a:r>
              <a:rPr lang="en-US" sz="900" dirty="0">
                <a:solidFill>
                  <a:prstClr val="white"/>
                </a:solidFill>
                <a:latin typeface="Roboto" panose="02000000000000000000" pitchFamily="2" charset="0"/>
                <a:ea typeface="Roboto" panose="02000000000000000000" pitchFamily="2" charset="0"/>
                <a:cs typeface="Roboto" panose="02000000000000000000" pitchFamily="2" charset="0"/>
              </a:rPr>
              <a:t>GenAI solutions must be securely embedded in organizational business processes</a:t>
            </a:r>
            <a:endParaRPr kumimoji="0" lang="en-US" sz="9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6" name="Group 5">
            <a:extLst>
              <a:ext uri="{FF2B5EF4-FFF2-40B4-BE49-F238E27FC236}">
                <a16:creationId xmlns:a16="http://schemas.microsoft.com/office/drawing/2014/main" id="{BF996E5C-4726-BE3E-AE61-694094CB5577}"/>
              </a:ext>
            </a:extLst>
          </p:cNvPr>
          <p:cNvGrpSpPr/>
          <p:nvPr/>
        </p:nvGrpSpPr>
        <p:grpSpPr>
          <a:xfrm>
            <a:off x="2334202" y="1411074"/>
            <a:ext cx="4579816" cy="4317373"/>
            <a:chOff x="2334202" y="1411074"/>
            <a:chExt cx="4579816" cy="4317373"/>
          </a:xfrm>
        </p:grpSpPr>
        <p:grpSp>
          <p:nvGrpSpPr>
            <p:cNvPr id="7" name="Group 6">
              <a:extLst>
                <a:ext uri="{FF2B5EF4-FFF2-40B4-BE49-F238E27FC236}">
                  <a16:creationId xmlns:a16="http://schemas.microsoft.com/office/drawing/2014/main" id="{4B007884-E009-19B7-A3F4-B543C8C71A20}"/>
                </a:ext>
              </a:extLst>
            </p:cNvPr>
            <p:cNvGrpSpPr/>
            <p:nvPr/>
          </p:nvGrpSpPr>
          <p:grpSpPr>
            <a:xfrm>
              <a:off x="2334202" y="1411074"/>
              <a:ext cx="396692" cy="4317373"/>
              <a:chOff x="2334202" y="1411074"/>
              <a:chExt cx="396692" cy="4317373"/>
            </a:xfrm>
          </p:grpSpPr>
          <p:sp>
            <p:nvSpPr>
              <p:cNvPr id="10" name="Right Bracket 9">
                <a:extLst>
                  <a:ext uri="{FF2B5EF4-FFF2-40B4-BE49-F238E27FC236}">
                    <a16:creationId xmlns:a16="http://schemas.microsoft.com/office/drawing/2014/main" id="{6CFC51B8-E6A4-C19E-E30B-6042C21A28AD}"/>
                  </a:ext>
                </a:extLst>
              </p:cNvPr>
              <p:cNvSpPr/>
              <p:nvPr/>
            </p:nvSpPr>
            <p:spPr>
              <a:xfrm>
                <a:off x="2347653" y="1411074"/>
                <a:ext cx="383241" cy="4317373"/>
              </a:xfrm>
              <a:prstGeom prst="righ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a:p>
            </p:txBody>
          </p:sp>
          <p:cxnSp>
            <p:nvCxnSpPr>
              <p:cNvPr id="11" name="Straight Connector 10">
                <a:extLst>
                  <a:ext uri="{FF2B5EF4-FFF2-40B4-BE49-F238E27FC236}">
                    <a16:creationId xmlns:a16="http://schemas.microsoft.com/office/drawing/2014/main" id="{F8CA590A-00CE-6E66-7BF7-5E1189658DE1}"/>
                  </a:ext>
                </a:extLst>
              </p:cNvPr>
              <p:cNvCxnSpPr>
                <a:cxnSpLocks/>
                <a:stCxn id="3" idx="1"/>
              </p:cNvCxnSpPr>
              <p:nvPr/>
            </p:nvCxnSpPr>
            <p:spPr>
              <a:xfrm>
                <a:off x="2334204" y="2908181"/>
                <a:ext cx="39669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3D20694-15CB-BBBB-1A30-3284727FCF96}"/>
                  </a:ext>
                </a:extLst>
              </p:cNvPr>
              <p:cNvCxnSpPr>
                <a:cxnSpLocks/>
              </p:cNvCxnSpPr>
              <p:nvPr/>
            </p:nvCxnSpPr>
            <p:spPr>
              <a:xfrm>
                <a:off x="2334202" y="4391840"/>
                <a:ext cx="396690" cy="0"/>
              </a:xfrm>
              <a:prstGeom prst="line">
                <a:avLst/>
              </a:prstGeom>
            </p:spPr>
            <p:style>
              <a:lnRef idx="2">
                <a:schemeClr val="accent1"/>
              </a:lnRef>
              <a:fillRef idx="0">
                <a:schemeClr val="accent1"/>
              </a:fillRef>
              <a:effectRef idx="1">
                <a:schemeClr val="accent1"/>
              </a:effectRef>
              <a:fontRef idx="minor">
                <a:schemeClr val="tx1"/>
              </a:fontRef>
            </p:style>
          </p:cxnSp>
        </p:grpSp>
        <p:cxnSp>
          <p:nvCxnSpPr>
            <p:cNvPr id="8" name="Straight Arrow Connector 7">
              <a:extLst>
                <a:ext uri="{FF2B5EF4-FFF2-40B4-BE49-F238E27FC236}">
                  <a16:creationId xmlns:a16="http://schemas.microsoft.com/office/drawing/2014/main" id="{77F2607D-B8F2-6F7A-2612-3C2B2987F69D}"/>
                </a:ext>
              </a:extLst>
            </p:cNvPr>
            <p:cNvCxnSpPr>
              <a:cxnSpLocks/>
              <a:stCxn id="10" idx="2"/>
              <a:endCxn id="9" idx="1"/>
            </p:cNvCxnSpPr>
            <p:nvPr/>
          </p:nvCxnSpPr>
          <p:spPr>
            <a:xfrm flipV="1">
              <a:off x="2730894" y="3565582"/>
              <a:ext cx="1527330" cy="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Single Corner Rounded 3">
              <a:extLst>
                <a:ext uri="{FF2B5EF4-FFF2-40B4-BE49-F238E27FC236}">
                  <a16:creationId xmlns:a16="http://schemas.microsoft.com/office/drawing/2014/main" id="{74C1C299-672B-EA99-B70B-33C3CBF2F8EF}"/>
                </a:ext>
              </a:extLst>
            </p:cNvPr>
            <p:cNvSpPr/>
            <p:nvPr/>
          </p:nvSpPr>
          <p:spPr>
            <a:xfrm>
              <a:off x="4258224" y="2766996"/>
              <a:ext cx="2655794" cy="1597171"/>
            </a:xfrm>
            <a:prstGeom prst="round1Rect">
              <a:avLst/>
            </a:prstGeom>
            <a:gradFill flip="none" rotWithShape="1">
              <a:gsLst>
                <a:gs pos="100000">
                  <a:srgbClr val="233A59"/>
                </a:gs>
                <a:gs pos="33000">
                  <a:schemeClr val="tx2">
                    <a:lumMod val="50000"/>
                    <a:lumOff val="50000"/>
                  </a:schemeClr>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Custom GenAI solutions offer the best results but require diverse expertise, tools, and data integrations—from model selection to deployment and monitoring.</a:t>
              </a:r>
              <a:endParaRPr kumimoji="0" lang="en-US" sz="1200" b="0"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grpSp>
        <p:nvGrpSpPr>
          <p:cNvPr id="14" name="Group 13">
            <a:extLst>
              <a:ext uri="{FF2B5EF4-FFF2-40B4-BE49-F238E27FC236}">
                <a16:creationId xmlns:a16="http://schemas.microsoft.com/office/drawing/2014/main" id="{904436D6-EE0A-1A56-9C56-DD320FCBF21A}"/>
              </a:ext>
            </a:extLst>
          </p:cNvPr>
          <p:cNvGrpSpPr/>
          <p:nvPr/>
        </p:nvGrpSpPr>
        <p:grpSpPr>
          <a:xfrm>
            <a:off x="6914018" y="1046641"/>
            <a:ext cx="5143504" cy="4401652"/>
            <a:chOff x="6914018" y="1046641"/>
            <a:chExt cx="5143504" cy="4401652"/>
          </a:xfrm>
        </p:grpSpPr>
        <p:cxnSp>
          <p:nvCxnSpPr>
            <p:cNvPr id="15" name="Connector: Elbow 14">
              <a:extLst>
                <a:ext uri="{FF2B5EF4-FFF2-40B4-BE49-F238E27FC236}">
                  <a16:creationId xmlns:a16="http://schemas.microsoft.com/office/drawing/2014/main" id="{76D889BA-49E1-184D-6DDD-6954AD793AC3}"/>
                </a:ext>
              </a:extLst>
            </p:cNvPr>
            <p:cNvCxnSpPr>
              <a:stCxn id="9" idx="3"/>
            </p:cNvCxnSpPr>
            <p:nvPr/>
          </p:nvCxnSpPr>
          <p:spPr>
            <a:xfrm flipV="1">
              <a:off x="6914018" y="2265829"/>
              <a:ext cx="1362643" cy="1299753"/>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EC53398-C1EB-BD10-84AC-0929F61E4DE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863416" y="1046641"/>
              <a:ext cx="360000" cy="360000"/>
            </a:xfrm>
            <a:prstGeom prst="rect">
              <a:avLst/>
            </a:prstGeom>
          </p:spPr>
        </p:pic>
        <p:pic>
          <p:nvPicPr>
            <p:cNvPr id="22" name="Graphic 21">
              <a:extLst>
                <a:ext uri="{FF2B5EF4-FFF2-40B4-BE49-F238E27FC236}">
                  <a16:creationId xmlns:a16="http://schemas.microsoft.com/office/drawing/2014/main" id="{69D4679D-F721-224C-A628-66CD0C00B0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88817" y="1051074"/>
              <a:ext cx="360000" cy="360000"/>
            </a:xfrm>
            <a:prstGeom prst="rect">
              <a:avLst/>
            </a:prstGeom>
          </p:spPr>
        </p:pic>
        <p:sp>
          <p:nvSpPr>
            <p:cNvPr id="24" name="Lorem ipsum dolor sit elit, consect loreretur adipiscing nisi aute. Lorem.">
              <a:extLst>
                <a:ext uri="{FF2B5EF4-FFF2-40B4-BE49-F238E27FC236}">
                  <a16:creationId xmlns:a16="http://schemas.microsoft.com/office/drawing/2014/main" id="{A042FA96-7DD2-03DF-9869-4BFD65B56D51}"/>
                </a:ext>
              </a:extLst>
            </p:cNvPr>
            <p:cNvSpPr txBox="1"/>
            <p:nvPr/>
          </p:nvSpPr>
          <p:spPr>
            <a:xfrm>
              <a:off x="8306870" y="1461304"/>
              <a:ext cx="3750652" cy="39869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lnSpc>
                  <a:spcPts val="1800"/>
                </a:lnSpc>
              </a:pPr>
              <a:r>
                <a:rPr lang="en-US" sz="1400" b="1" i="0" dirty="0">
                  <a:solidFill>
                    <a:srgbClr val="000000"/>
                  </a:solidFill>
                  <a:effectLst/>
                  <a:latin typeface="Roboto" panose="02000000000000000000" pitchFamily="2" charset="0"/>
                  <a:ea typeface="Roboto" panose="02000000000000000000" pitchFamily="2" charset="0"/>
                  <a:cs typeface="Roboto" panose="02000000000000000000" pitchFamily="2" charset="0"/>
                </a:rPr>
                <a:t>Azure AI Studio Featur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mprehensive Platform</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ollection of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ccess to a wide range of LLM models via a single API</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I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Vision, document intelligence, translation, and more</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Development Approach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No code, low code, fully coded</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Capabiliti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Orchestration, deployment, monitoring, integration</a:t>
              </a:r>
            </a:p>
            <a:p>
              <a:pPr marL="0" marR="0" lvl="0" indent="0" algn="l" defTabSz="457200" rtl="0" eaLnBrk="1" fontAlgn="auto" latinLnBrk="0" hangingPunct="1">
                <a:lnSpc>
                  <a:spcPts val="174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Azure AI Studio</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rPr>
                <a:t>Platform for building AI tools: Copilots, apps, solutions, workflows</a:t>
              </a:r>
            </a:p>
            <a:p>
              <a:pPr marR="0" lvl="0" algn="l" defTabSz="457200" rtl="0" eaLnBrk="1" fontAlgn="auto" latinLnBrk="0" hangingPunct="1">
                <a:lnSpc>
                  <a:spcPts val="1740"/>
                </a:lnSpc>
                <a:spcBef>
                  <a:spcPts val="0"/>
                </a:spcBef>
                <a:spcAft>
                  <a:spcPts val="0"/>
                </a:spcAft>
                <a:buClrTx/>
                <a:buSzTx/>
                <a:tabLst/>
                <a:defRPr/>
              </a:pPr>
              <a:r>
                <a:rPr lang="en-US" sz="1100" b="1"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ity</a:t>
              </a:r>
              <a:endParaRPr kumimoji="0" lang="en-US" sz="1100" b="1" i="0" u="none" strike="noStrike" kern="1200" cap="none" spc="0" normalizeH="0" baseline="0" noProof="0" dirty="0">
                <a:ln>
                  <a:noFill/>
                </a:ln>
                <a:solidFill>
                  <a:schemeClr val="tx1">
                    <a:lumMod val="85000"/>
                    <a:lumOff val="1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indent="-171450" algn="l" defTabSz="457200">
                <a:lnSpc>
                  <a:spcPts val="1740"/>
                </a:lnSpc>
                <a:buFont typeface="Arial" panose="020B0604020202020204" pitchFamily="34" charset="0"/>
                <a:buChar char="•"/>
                <a:defRPr/>
              </a:pPr>
              <a:r>
                <a:rPr lang="en-US" sz="1100" dirty="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rPr>
                <a:t>Secure integration with your azure and on-prem environments</a:t>
              </a:r>
            </a:p>
            <a:p>
              <a:pPr marL="0" marR="0" lvl="0" indent="0" algn="l" defTabSz="457200" rtl="0" eaLnBrk="1" fontAlgn="auto" latinLnBrk="0" hangingPunct="1">
                <a:lnSpc>
                  <a:spcPts val="174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561901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1000"/>
                                        <p:tgtEl>
                                          <p:spTgt spid="6"/>
                                        </p:tgtEl>
                                      </p:cBhvr>
                                    </p:animEffect>
                                    <p:anim calcmode="lin" valueType="num">
                                      <p:cBhvr>
                                        <p:cTn id="36" dur="1000" fill="hold"/>
                                        <p:tgtEl>
                                          <p:spTgt spid="6"/>
                                        </p:tgtEl>
                                        <p:attrNameLst>
                                          <p:attrName>ppt_x</p:attrName>
                                        </p:attrNameLst>
                                      </p:cBhvr>
                                      <p:tavLst>
                                        <p:tav tm="0">
                                          <p:val>
                                            <p:strVal val="#ppt_x"/>
                                          </p:val>
                                        </p:tav>
                                        <p:tav tm="100000">
                                          <p:val>
                                            <p:strVal val="#ppt_x"/>
                                          </p:val>
                                        </p:tav>
                                      </p:tavLst>
                                    </p:anim>
                                    <p:anim calcmode="lin" valueType="num">
                                      <p:cBhvr>
                                        <p:cTn id="3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A0DB9-1552-8DDA-16C0-51364D5991C6}"/>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47CA29DC-6AA4-9DC3-6D80-4624A853D698}"/>
              </a:ext>
            </a:extLst>
          </p:cNvPr>
          <p:cNvSpPr>
            <a:spLocks noGrp="1"/>
          </p:cNvSpPr>
          <p:nvPr>
            <p:ph type="title"/>
          </p:nvPr>
        </p:nvSpPr>
        <p:spPr>
          <a:xfrm>
            <a:off x="174206" y="25444"/>
            <a:ext cx="10515600" cy="604800"/>
          </a:xfrm>
        </p:spPr>
        <p:txBody>
          <a:bodyPr>
            <a:normAutofit/>
          </a:bodyPr>
          <a:lstStyle/>
          <a:p>
            <a:r>
              <a:rPr lang="en-US" sz="2800" dirty="0">
                <a:solidFill>
                  <a:srgbClr val="233A59"/>
                </a:solidFill>
                <a:latin typeface="Roboto" panose="02000000000000000000" pitchFamily="2" charset="0"/>
                <a:ea typeface="Roboto" panose="02000000000000000000" pitchFamily="2" charset="0"/>
                <a:cs typeface="Roboto" panose="02000000000000000000" pitchFamily="2" charset="0"/>
              </a:rPr>
              <a:t>Features</a:t>
            </a:r>
            <a:r>
              <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 of Azure AI Foundry</a:t>
            </a:r>
          </a:p>
        </p:txBody>
      </p:sp>
      <p:sp>
        <p:nvSpPr>
          <p:cNvPr id="2" name="Rectangle 1">
            <a:extLst>
              <a:ext uri="{FF2B5EF4-FFF2-40B4-BE49-F238E27FC236}">
                <a16:creationId xmlns:a16="http://schemas.microsoft.com/office/drawing/2014/main" id="{4AEC152D-057B-FF6E-BB80-5439D2459C56}"/>
              </a:ext>
            </a:extLst>
          </p:cNvPr>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 name="Picture 2">
            <a:extLst>
              <a:ext uri="{FF2B5EF4-FFF2-40B4-BE49-F238E27FC236}">
                <a16:creationId xmlns:a16="http://schemas.microsoft.com/office/drawing/2014/main" id="{9252515C-592C-22D2-2312-A5CD994E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4" name="Group 3">
            <a:extLst>
              <a:ext uri="{FF2B5EF4-FFF2-40B4-BE49-F238E27FC236}">
                <a16:creationId xmlns:a16="http://schemas.microsoft.com/office/drawing/2014/main" id="{CA08D2F0-74A7-FE9A-FE5D-11FCB587695F}"/>
              </a:ext>
            </a:extLst>
          </p:cNvPr>
          <p:cNvGrpSpPr/>
          <p:nvPr/>
        </p:nvGrpSpPr>
        <p:grpSpPr>
          <a:xfrm>
            <a:off x="6934880" y="0"/>
            <a:ext cx="5257120" cy="1905814"/>
            <a:chOff x="6934879" y="2268234"/>
            <a:chExt cx="5257120" cy="2357700"/>
          </a:xfrm>
        </p:grpSpPr>
        <p:sp>
          <p:nvSpPr>
            <p:cNvPr id="5" name="Rectangle 4">
              <a:extLst>
                <a:ext uri="{FF2B5EF4-FFF2-40B4-BE49-F238E27FC236}">
                  <a16:creationId xmlns:a16="http://schemas.microsoft.com/office/drawing/2014/main" id="{DE85B5E5-36DA-5A6F-8F78-BDA2C8B2CFA5}"/>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 name="Rectangle 5">
              <a:extLst>
                <a:ext uri="{FF2B5EF4-FFF2-40B4-BE49-F238E27FC236}">
                  <a16:creationId xmlns:a16="http://schemas.microsoft.com/office/drawing/2014/main" id="{4D4E67FA-7B8E-DF64-E1A6-C2DBAFCBD908}"/>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pic>
        <p:nvPicPr>
          <p:cNvPr id="7" name="Picture 6">
            <a:extLst>
              <a:ext uri="{FF2B5EF4-FFF2-40B4-BE49-F238E27FC236}">
                <a16:creationId xmlns:a16="http://schemas.microsoft.com/office/drawing/2014/main" id="{DC88B1D9-F7CD-CB9C-BDD7-EA24894ED9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1" y="2413970"/>
            <a:ext cx="324902" cy="2338740"/>
          </a:xfrm>
          <a:prstGeom prst="rect">
            <a:avLst/>
          </a:prstGeom>
        </p:spPr>
      </p:pic>
      <p:pic>
        <p:nvPicPr>
          <p:cNvPr id="8" name="Picture 7">
            <a:extLst>
              <a:ext uri="{FF2B5EF4-FFF2-40B4-BE49-F238E27FC236}">
                <a16:creationId xmlns:a16="http://schemas.microsoft.com/office/drawing/2014/main" id="{B143A57E-FF4B-CC09-1B56-EB5452D220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9" name="Lorem ipsum dolor sit elit, consect loreretur adipiscing nisi aute. Lorem.">
            <a:extLst>
              <a:ext uri="{FF2B5EF4-FFF2-40B4-BE49-F238E27FC236}">
                <a16:creationId xmlns:a16="http://schemas.microsoft.com/office/drawing/2014/main" id="{6BC18E96-88F2-EE13-03B2-12471ECE5D4C}"/>
              </a:ext>
            </a:extLst>
          </p:cNvPr>
          <p:cNvSpPr txBox="1"/>
          <p:nvPr/>
        </p:nvSpPr>
        <p:spPr>
          <a:xfrm>
            <a:off x="8070005" y="138944"/>
            <a:ext cx="3955409" cy="16068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One-Stop Shop</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ccess to over 100 AI models and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Unified billing for text generation, document transcription, text-to-speech,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ombine with data for context-aware application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ion with APIs, CRM systems, and more</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earch web, Excel, SQL, and SAP data</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Lorem ipsum dolor sit elit, consect loreretur adipiscing nisi aute. Lorem.">
            <a:extLst>
              <a:ext uri="{FF2B5EF4-FFF2-40B4-BE49-F238E27FC236}">
                <a16:creationId xmlns:a16="http://schemas.microsoft.com/office/drawing/2014/main" id="{FD0AE5BC-1933-19D5-27F1-7A3B828B1392}"/>
              </a:ext>
            </a:extLst>
          </p:cNvPr>
          <p:cNvSpPr txBox="1"/>
          <p:nvPr/>
        </p:nvSpPr>
        <p:spPr>
          <a:xfrm>
            <a:off x="8085806" y="2136119"/>
            <a:ext cx="3605157" cy="9528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clusive and Collaborative Platform</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Supports low/no code with prompt flow orchestr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Advanced coding with APIs in VS Code and Pyth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Create and edit projects with team memb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Rectangle: Single Corner Rounded 3">
            <a:extLst>
              <a:ext uri="{FF2B5EF4-FFF2-40B4-BE49-F238E27FC236}">
                <a16:creationId xmlns:a16="http://schemas.microsoft.com/office/drawing/2014/main" id="{F9145585-5C1F-BB92-48D4-B38C654D7A98}"/>
              </a:ext>
            </a:extLst>
          </p:cNvPr>
          <p:cNvSpPr/>
          <p:nvPr/>
        </p:nvSpPr>
        <p:spPr>
          <a:xfrm>
            <a:off x="3820472" y="1268842"/>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Rectangle: Single Corner Rounded 3">
            <a:extLst>
              <a:ext uri="{FF2B5EF4-FFF2-40B4-BE49-F238E27FC236}">
                <a16:creationId xmlns:a16="http://schemas.microsoft.com/office/drawing/2014/main" id="{72AD6C38-A742-C406-F011-2BC8A6BC88E5}"/>
              </a:ext>
            </a:extLst>
          </p:cNvPr>
          <p:cNvSpPr/>
          <p:nvPr/>
        </p:nvSpPr>
        <p:spPr>
          <a:xfrm rot="10800000">
            <a:off x="1984409"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Rectangle: Single Corner Rounded 3">
            <a:extLst>
              <a:ext uri="{FF2B5EF4-FFF2-40B4-BE49-F238E27FC236}">
                <a16:creationId xmlns:a16="http://schemas.microsoft.com/office/drawing/2014/main" id="{3C8A50D9-5987-BC9C-55A5-EA849CC8122C}"/>
              </a:ext>
            </a:extLst>
          </p:cNvPr>
          <p:cNvSpPr/>
          <p:nvPr/>
        </p:nvSpPr>
        <p:spPr>
          <a:xfrm flipV="1">
            <a:off x="3825904" y="4748854"/>
            <a:ext cx="1704681" cy="1123422"/>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2" name="Rectangle: Single Corner Rounded 3">
            <a:extLst>
              <a:ext uri="{FF2B5EF4-FFF2-40B4-BE49-F238E27FC236}">
                <a16:creationId xmlns:a16="http://schemas.microsoft.com/office/drawing/2014/main" id="{CB8EAACD-B9E2-2B74-71FE-4D76F98F197B}"/>
              </a:ext>
            </a:extLst>
          </p:cNvPr>
          <p:cNvSpPr/>
          <p:nvPr/>
        </p:nvSpPr>
        <p:spPr>
          <a:xfrm flipH="1">
            <a:off x="1978976" y="1268842"/>
            <a:ext cx="1710000" cy="1080000"/>
          </a:xfrm>
          <a:prstGeom prst="round1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ts val="152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4" name="Bent Arrow 7">
            <a:extLst>
              <a:ext uri="{FF2B5EF4-FFF2-40B4-BE49-F238E27FC236}">
                <a16:creationId xmlns:a16="http://schemas.microsoft.com/office/drawing/2014/main" id="{A71A1726-092D-5839-94A0-55790EB912BD}"/>
              </a:ext>
            </a:extLst>
          </p:cNvPr>
          <p:cNvSpPr/>
          <p:nvPr/>
        </p:nvSpPr>
        <p:spPr>
          <a:xfrm>
            <a:off x="1781621" y="101775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6" name="Bent Arrow 65">
            <a:extLst>
              <a:ext uri="{FF2B5EF4-FFF2-40B4-BE49-F238E27FC236}">
                <a16:creationId xmlns:a16="http://schemas.microsoft.com/office/drawing/2014/main" id="{6E1DA373-48D9-38A8-4DD8-E4A3102BA2D4}"/>
              </a:ext>
            </a:extLst>
          </p:cNvPr>
          <p:cNvSpPr/>
          <p:nvPr/>
        </p:nvSpPr>
        <p:spPr>
          <a:xfrm rot="10800000">
            <a:off x="1937852" y="338266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9" name="Bent Arrow 66">
            <a:extLst>
              <a:ext uri="{FF2B5EF4-FFF2-40B4-BE49-F238E27FC236}">
                <a16:creationId xmlns:a16="http://schemas.microsoft.com/office/drawing/2014/main" id="{3DEE61A3-469F-94E1-88FC-F22ACF0E6873}"/>
              </a:ext>
            </a:extLst>
          </p:cNvPr>
          <p:cNvSpPr/>
          <p:nvPr/>
        </p:nvSpPr>
        <p:spPr>
          <a:xfrm rot="5400000">
            <a:off x="2097103" y="394227"/>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0" name="Bent Arrow 67">
            <a:extLst>
              <a:ext uri="{FF2B5EF4-FFF2-40B4-BE49-F238E27FC236}">
                <a16:creationId xmlns:a16="http://schemas.microsoft.com/office/drawing/2014/main" id="{81868FD8-E5CE-8792-E490-AFBFBA7FF4E8}"/>
              </a:ext>
            </a:extLst>
          </p:cNvPr>
          <p:cNvSpPr/>
          <p:nvPr/>
        </p:nvSpPr>
        <p:spPr>
          <a:xfrm rot="16200000">
            <a:off x="1914708" y="2443942"/>
            <a:ext cx="3380732" cy="4174849"/>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 name="TextBox 30">
            <a:extLst>
              <a:ext uri="{FF2B5EF4-FFF2-40B4-BE49-F238E27FC236}">
                <a16:creationId xmlns:a16="http://schemas.microsoft.com/office/drawing/2014/main" id="{D7799BA0-CAE1-E860-58C6-592EF9D908A4}"/>
              </a:ext>
            </a:extLst>
          </p:cNvPr>
          <p:cNvSpPr txBox="1"/>
          <p:nvPr/>
        </p:nvSpPr>
        <p:spPr>
          <a:xfrm>
            <a:off x="1996951" y="1578267"/>
            <a:ext cx="1704681" cy="621324"/>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ection of great AI services and models at your fingertips</a:t>
            </a:r>
          </a:p>
        </p:txBody>
      </p:sp>
      <p:sp>
        <p:nvSpPr>
          <p:cNvPr id="32" name="TextBox 31">
            <a:extLst>
              <a:ext uri="{FF2B5EF4-FFF2-40B4-BE49-F238E27FC236}">
                <a16:creationId xmlns:a16="http://schemas.microsoft.com/office/drawing/2014/main" id="{F51C4155-5125-1948-89B4-3820CE2D5CC2}"/>
              </a:ext>
            </a:extLst>
          </p:cNvPr>
          <p:cNvSpPr txBox="1"/>
          <p:nvPr/>
        </p:nvSpPr>
        <p:spPr>
          <a:xfrm>
            <a:off x="3990748" y="1488499"/>
            <a:ext cx="1380028" cy="800860"/>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mplete AI Toolchain (search, data, web, functions, etc.)</a:t>
            </a:r>
          </a:p>
        </p:txBody>
      </p:sp>
      <p:sp>
        <p:nvSpPr>
          <p:cNvPr id="34" name="TextBox 33">
            <a:extLst>
              <a:ext uri="{FF2B5EF4-FFF2-40B4-BE49-F238E27FC236}">
                <a16:creationId xmlns:a16="http://schemas.microsoft.com/office/drawing/2014/main" id="{F3BA04FA-B373-29F1-B918-EE1F1187CF67}"/>
              </a:ext>
            </a:extLst>
          </p:cNvPr>
          <p:cNvSpPr txBox="1"/>
          <p:nvPr/>
        </p:nvSpPr>
        <p:spPr>
          <a:xfrm>
            <a:off x="3990748" y="5137910"/>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ject management</a:t>
            </a:r>
          </a:p>
        </p:txBody>
      </p:sp>
      <p:sp>
        <p:nvSpPr>
          <p:cNvPr id="53" name="Rectangle 52">
            <a:extLst>
              <a:ext uri="{FF2B5EF4-FFF2-40B4-BE49-F238E27FC236}">
                <a16:creationId xmlns:a16="http://schemas.microsoft.com/office/drawing/2014/main" id="{CC911CB5-BF00-4D92-D64A-F6B240840E9D}"/>
              </a:ext>
            </a:extLst>
          </p:cNvPr>
          <p:cNvSpPr/>
          <p:nvPr/>
        </p:nvSpPr>
        <p:spPr>
          <a:xfrm>
            <a:off x="1978976" y="2559050"/>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5" name="Rectangle 54">
            <a:extLst>
              <a:ext uri="{FF2B5EF4-FFF2-40B4-BE49-F238E27FC236}">
                <a16:creationId xmlns:a16="http://schemas.microsoft.com/office/drawing/2014/main" id="{C3D13453-2DCC-9D41-7912-4567D4B5260F}"/>
              </a:ext>
            </a:extLst>
          </p:cNvPr>
          <p:cNvSpPr/>
          <p:nvPr/>
        </p:nvSpPr>
        <p:spPr>
          <a:xfrm>
            <a:off x="3844342" y="2578665"/>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6" name="Rectangle 55">
            <a:extLst>
              <a:ext uri="{FF2B5EF4-FFF2-40B4-BE49-F238E27FC236}">
                <a16:creationId xmlns:a16="http://schemas.microsoft.com/office/drawing/2014/main" id="{C58AAF5D-D2D9-91AD-FEB1-2CFAC21A8353}"/>
              </a:ext>
            </a:extLst>
          </p:cNvPr>
          <p:cNvSpPr/>
          <p:nvPr/>
        </p:nvSpPr>
        <p:spPr>
          <a:xfrm>
            <a:off x="1982082" y="3637019"/>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7" name="Rectangle 56">
            <a:extLst>
              <a:ext uri="{FF2B5EF4-FFF2-40B4-BE49-F238E27FC236}">
                <a16:creationId xmlns:a16="http://schemas.microsoft.com/office/drawing/2014/main" id="{42D2D419-BDEE-ABE9-EB7B-B9D21DB68827}"/>
              </a:ext>
            </a:extLst>
          </p:cNvPr>
          <p:cNvSpPr/>
          <p:nvPr/>
        </p:nvSpPr>
        <p:spPr>
          <a:xfrm>
            <a:off x="3847448" y="3656634"/>
            <a:ext cx="1704681" cy="95741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p>
        </p:txBody>
      </p:sp>
      <p:sp>
        <p:nvSpPr>
          <p:cNvPr id="58" name="TextBox 57">
            <a:extLst>
              <a:ext uri="{FF2B5EF4-FFF2-40B4-BE49-F238E27FC236}">
                <a16:creationId xmlns:a16="http://schemas.microsoft.com/office/drawing/2014/main" id="{6CE406D9-FA31-E303-059E-3D9AA381DBAB}"/>
              </a:ext>
            </a:extLst>
          </p:cNvPr>
          <p:cNvSpPr txBox="1"/>
          <p:nvPr/>
        </p:nvSpPr>
        <p:spPr>
          <a:xfrm>
            <a:off x="2185927" y="5118819"/>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reate once, deploy everywhere</a:t>
            </a:r>
          </a:p>
        </p:txBody>
      </p:sp>
      <p:sp>
        <p:nvSpPr>
          <p:cNvPr id="33" name="TextBox 32">
            <a:extLst>
              <a:ext uri="{FF2B5EF4-FFF2-40B4-BE49-F238E27FC236}">
                <a16:creationId xmlns:a16="http://schemas.microsoft.com/office/drawing/2014/main" id="{F6D1B341-EFB7-76E2-F14C-D15AE1048CBE}"/>
              </a:ext>
            </a:extLst>
          </p:cNvPr>
          <p:cNvSpPr txBox="1"/>
          <p:nvPr/>
        </p:nvSpPr>
        <p:spPr>
          <a:xfrm>
            <a:off x="2124907" y="280971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clusive platform (for all developers)</a:t>
            </a:r>
          </a:p>
        </p:txBody>
      </p:sp>
      <p:sp>
        <p:nvSpPr>
          <p:cNvPr id="59" name="TextBox 58">
            <a:extLst>
              <a:ext uri="{FF2B5EF4-FFF2-40B4-BE49-F238E27FC236}">
                <a16:creationId xmlns:a16="http://schemas.microsoft.com/office/drawing/2014/main" id="{3BEFB4FE-2320-0B9E-BF74-F2B32016F730}"/>
              </a:ext>
            </a:extLst>
          </p:cNvPr>
          <p:cNvSpPr txBox="1"/>
          <p:nvPr/>
        </p:nvSpPr>
        <p:spPr>
          <a:xfrm>
            <a:off x="3950935" y="2823678"/>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aborative environment</a:t>
            </a:r>
          </a:p>
        </p:txBody>
      </p:sp>
      <p:sp>
        <p:nvSpPr>
          <p:cNvPr id="60" name="TextBox 59">
            <a:extLst>
              <a:ext uri="{FF2B5EF4-FFF2-40B4-BE49-F238E27FC236}">
                <a16:creationId xmlns:a16="http://schemas.microsoft.com/office/drawing/2014/main" id="{13DFC338-E810-955E-AAF6-296151DE520B}"/>
              </a:ext>
            </a:extLst>
          </p:cNvPr>
          <p:cNvSpPr txBox="1"/>
          <p:nvPr/>
        </p:nvSpPr>
        <p:spPr>
          <a:xfrm>
            <a:off x="3988230" y="3895122"/>
            <a:ext cx="1380028"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lang="en-US" sz="1100" dirty="0">
                <a:solidFill>
                  <a:prstClr val="white"/>
                </a:solidFill>
                <a:latin typeface="Roboto" panose="02000000000000000000" pitchFamily="2" charset="0"/>
                <a:ea typeface="Roboto" panose="02000000000000000000" pitchFamily="2" charset="0"/>
                <a:cs typeface="Roboto" panose="02000000000000000000" pitchFamily="2" charset="0"/>
              </a:rPr>
              <a:t>Tracing and debugging</a:t>
            </a:r>
            <a:endPar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1" name="TextBox 60">
            <a:extLst>
              <a:ext uri="{FF2B5EF4-FFF2-40B4-BE49-F238E27FC236}">
                <a16:creationId xmlns:a16="http://schemas.microsoft.com/office/drawing/2014/main" id="{2A82E8A2-D54F-D3E0-866D-4602EFC630BA}"/>
              </a:ext>
            </a:extLst>
          </p:cNvPr>
          <p:cNvSpPr txBox="1"/>
          <p:nvPr/>
        </p:nvSpPr>
        <p:spPr>
          <a:xfrm>
            <a:off x="2159277" y="3877725"/>
            <a:ext cx="1504300" cy="441788"/>
          </a:xfrm>
          <a:prstGeom prst="rect">
            <a:avLst/>
          </a:prstGeom>
          <a:noFill/>
        </p:spPr>
        <p:txBody>
          <a:bodyPr wrap="square" rtlCol="0">
            <a:spAutoFit/>
          </a:body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duction-ready and enterprise-grade</a:t>
            </a:r>
          </a:p>
        </p:txBody>
      </p:sp>
      <p:grpSp>
        <p:nvGrpSpPr>
          <p:cNvPr id="62" name="Group 61">
            <a:extLst>
              <a:ext uri="{FF2B5EF4-FFF2-40B4-BE49-F238E27FC236}">
                <a16:creationId xmlns:a16="http://schemas.microsoft.com/office/drawing/2014/main" id="{5665A4A0-73C5-20BC-0585-37A3C6F7878F}"/>
              </a:ext>
            </a:extLst>
          </p:cNvPr>
          <p:cNvGrpSpPr/>
          <p:nvPr/>
        </p:nvGrpSpPr>
        <p:grpSpPr>
          <a:xfrm>
            <a:off x="6946310" y="3286738"/>
            <a:ext cx="5257120" cy="1428378"/>
            <a:chOff x="6934879" y="2268234"/>
            <a:chExt cx="5257120" cy="2357700"/>
          </a:xfrm>
        </p:grpSpPr>
        <p:sp>
          <p:nvSpPr>
            <p:cNvPr id="63" name="Rectangle 62">
              <a:extLst>
                <a:ext uri="{FF2B5EF4-FFF2-40B4-BE49-F238E27FC236}">
                  <a16:creationId xmlns:a16="http://schemas.microsoft.com/office/drawing/2014/main" id="{2C5533A1-0952-A2B4-5F01-D1E59DADA122}"/>
                </a:ext>
              </a:extLst>
            </p:cNvPr>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64" name="Rectangle 63">
              <a:extLst>
                <a:ext uri="{FF2B5EF4-FFF2-40B4-BE49-F238E27FC236}">
                  <a16:creationId xmlns:a16="http://schemas.microsoft.com/office/drawing/2014/main" id="{E58CD699-6E2B-A130-8B5F-8DEE4C1CCC90}"/>
                </a:ext>
              </a:extLst>
            </p:cNvPr>
            <p:cNvSpPr/>
            <p:nvPr/>
          </p:nvSpPr>
          <p:spPr>
            <a:xfrm>
              <a:off x="6934879" y="2268234"/>
              <a:ext cx="652054" cy="2351703"/>
            </a:xfrm>
            <a:prstGeom prst="rect">
              <a:avLst/>
            </a:prstGeom>
            <a:solidFill>
              <a:schemeClr val="tx2">
                <a:lumMod val="25000"/>
                <a:lumOff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65" name="Lorem ipsum dolor sit elit, consect loreretur adipiscing nisi aute. Lorem.">
            <a:extLst>
              <a:ext uri="{FF2B5EF4-FFF2-40B4-BE49-F238E27FC236}">
                <a16:creationId xmlns:a16="http://schemas.microsoft.com/office/drawing/2014/main" id="{0ADB7C31-045E-5B4D-AAA2-94A019D2036B}"/>
              </a:ext>
            </a:extLst>
          </p:cNvPr>
          <p:cNvSpPr txBox="1"/>
          <p:nvPr/>
        </p:nvSpPr>
        <p:spPr>
          <a:xfrm>
            <a:off x="8122076" y="3427703"/>
            <a:ext cx="3955409" cy="11708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defTabSz="457200">
              <a:defRPr/>
            </a:pPr>
            <a:r>
              <a:rPr kumimoji="0" lang="en-US"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Production Ready and Enterprise Grade</a:t>
            </a:r>
            <a:endPar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Deploy AI applications across the organization</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Trace, debug, and evaluate LLMs effectively</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Integrate with Teams, Power Automate, and other app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Monitor usage and costs</a:t>
            </a:r>
          </a:p>
        </p:txBody>
      </p:sp>
      <p:sp>
        <p:nvSpPr>
          <p:cNvPr id="66" name="Lorem ipsum dolor sit elit, consect loreretur adipiscing nisi aute. Lorem.">
            <a:extLst>
              <a:ext uri="{FF2B5EF4-FFF2-40B4-BE49-F238E27FC236}">
                <a16:creationId xmlns:a16="http://schemas.microsoft.com/office/drawing/2014/main" id="{3F3B058C-F031-1D76-1521-B07F93BBDC0C}"/>
              </a:ext>
            </a:extLst>
          </p:cNvPr>
          <p:cNvSpPr txBox="1"/>
          <p:nvPr/>
        </p:nvSpPr>
        <p:spPr>
          <a:xfrm>
            <a:off x="8122076" y="4990870"/>
            <a:ext cx="3605157" cy="9528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797777"/>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IN" sz="14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cosystem Integration</a:t>
            </a:r>
            <a:endParaRPr kumimoji="0" lang="en-IN" sz="1200" b="1"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Leverage Azure resources like virtual networks, private endpoints, storage and cognitive services</a:t>
            </a:r>
          </a:p>
          <a:p>
            <a:pPr marL="171450" marR="0" lvl="0" indent="-171450" algn="l" defTabSz="457200" rtl="0" eaLnBrk="1" fontAlgn="auto" latinLnBrk="0" hangingPunct="1">
              <a:lnSpc>
                <a:spcPts val="174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rPr>
              <a:t>Easy deployment for Azure users</a:t>
            </a: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78963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E841727A-BC57-47CC-9490-EA618051637B}"/>
              </a:ext>
            </a:extLst>
          </p:cNvPr>
          <p:cNvSpPr/>
          <p:nvPr/>
        </p:nvSpPr>
        <p:spPr>
          <a:xfrm>
            <a:off x="0" y="-23951"/>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233A59"/>
              </a:gs>
              <a:gs pos="57000">
                <a:srgbClr val="3C649A"/>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1" name="Freeform: Shape 40">
            <a:extLst>
              <a:ext uri="{FF2B5EF4-FFF2-40B4-BE49-F238E27FC236}">
                <a16:creationId xmlns:a16="http://schemas.microsoft.com/office/drawing/2014/main" id="{45C252B7-E57D-4083-BB21-5F8468F11ABD}"/>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2" name="Arc 41">
            <a:extLst>
              <a:ext uri="{FF2B5EF4-FFF2-40B4-BE49-F238E27FC236}">
                <a16:creationId xmlns:a16="http://schemas.microsoft.com/office/drawing/2014/main" id="{95A0E889-1F01-487A-8B76-23F02E9442A6}"/>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233A59"/>
                </a:gs>
                <a:gs pos="46000">
                  <a:srgbClr val="0070C0"/>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7" name="Oval 96">
            <a:extLst>
              <a:ext uri="{FF2B5EF4-FFF2-40B4-BE49-F238E27FC236}">
                <a16:creationId xmlns:a16="http://schemas.microsoft.com/office/drawing/2014/main" id="{A27765DB-01C2-4515-8EFA-8811CB4AC1E4}"/>
              </a:ext>
            </a:extLst>
          </p:cNvPr>
          <p:cNvSpPr/>
          <p:nvPr/>
        </p:nvSpPr>
        <p:spPr>
          <a:xfrm flipH="1">
            <a:off x="957874" y="2299213"/>
            <a:ext cx="1440000" cy="1440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146" name="Oval 145">
            <a:extLst>
              <a:ext uri="{FF2B5EF4-FFF2-40B4-BE49-F238E27FC236}">
                <a16:creationId xmlns:a16="http://schemas.microsoft.com/office/drawing/2014/main" id="{429EA6A9-984E-4436-AE1D-7647689EEF3B}"/>
              </a:ext>
            </a:extLst>
          </p:cNvPr>
          <p:cNvSpPr/>
          <p:nvPr/>
        </p:nvSpPr>
        <p:spPr>
          <a:xfrm flipH="1">
            <a:off x="9744803" y="2544876"/>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Next Steps </a:t>
            </a:r>
            <a:endParaRPr lang="en-US" sz="1100" b="1" dirty="0">
              <a:solidFill>
                <a:srgbClr val="369ABA"/>
              </a:solidFill>
              <a:latin typeface="Roboto" panose="02000000000000000000" pitchFamily="2" charset="0"/>
              <a:ea typeface="Roboto" panose="02000000000000000000" pitchFamily="2" charset="0"/>
              <a:cs typeface="Roboto" panose="02000000000000000000" pitchFamily="2" charset="0"/>
            </a:endParaRPr>
          </a:p>
        </p:txBody>
      </p:sp>
      <p:sp>
        <p:nvSpPr>
          <p:cNvPr id="194" name="Oval 193">
            <a:extLst>
              <a:ext uri="{FF2B5EF4-FFF2-40B4-BE49-F238E27FC236}">
                <a16:creationId xmlns:a16="http://schemas.microsoft.com/office/drawing/2014/main" id="{292338B9-7E48-4B18-9615-BEF09BDE2287}"/>
              </a:ext>
            </a:extLst>
          </p:cNvPr>
          <p:cNvSpPr/>
          <p:nvPr/>
        </p:nvSpPr>
        <p:spPr>
          <a:xfrm flipH="1">
            <a:off x="3291032"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Environment Setup</a:t>
            </a:r>
            <a:endParaRPr kumimoji="0" lang="en-US" sz="1100" b="1" i="0" u="none" strike="noStrike" kern="1200" cap="none" spc="0" normalizeH="0" baseline="0" noProof="0" dirty="0">
              <a:ln>
                <a:noFill/>
              </a:ln>
              <a:solidFill>
                <a:srgbClr val="3C649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3" name="Oval 232">
            <a:extLst>
              <a:ext uri="{FF2B5EF4-FFF2-40B4-BE49-F238E27FC236}">
                <a16:creationId xmlns:a16="http://schemas.microsoft.com/office/drawing/2014/main" id="{65E51FE2-23CD-4C5A-8F37-6081BD0B5062}"/>
              </a:ext>
            </a:extLst>
          </p:cNvPr>
          <p:cNvSpPr/>
          <p:nvPr/>
        </p:nvSpPr>
        <p:spPr>
          <a:xfrm flipH="1">
            <a:off x="7729606" y="3279044"/>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 an app with AZ AI Studio </a:t>
            </a:r>
          </a:p>
        </p:txBody>
      </p:sp>
      <p:sp>
        <p:nvSpPr>
          <p:cNvPr id="272" name="Oval 271">
            <a:extLst>
              <a:ext uri="{FF2B5EF4-FFF2-40B4-BE49-F238E27FC236}">
                <a16:creationId xmlns:a16="http://schemas.microsoft.com/office/drawing/2014/main" id="{6766EFCA-B9DD-40C6-BEF6-DB4D7B717FC2}"/>
              </a:ext>
            </a:extLst>
          </p:cNvPr>
          <p:cNvSpPr/>
          <p:nvPr/>
        </p:nvSpPr>
        <p:spPr>
          <a:xfrm flipH="1">
            <a:off x="5464065" y="3578739"/>
            <a:ext cx="1494000" cy="149400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AZ AI Studio </a:t>
            </a:r>
            <a:b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br>
            <a:r>
              <a:rPr lang="en-US" sz="1100" b="1" dirty="0">
                <a:solidFill>
                  <a:srgbClr val="3C649A"/>
                </a:solidFill>
                <a:latin typeface="Roboto" panose="02000000000000000000" pitchFamily="2" charset="0"/>
                <a:ea typeface="Roboto" panose="02000000000000000000" pitchFamily="2" charset="0"/>
                <a:cs typeface="Roboto" panose="02000000000000000000" pitchFamily="2" charset="0"/>
              </a:rPr>
              <a:t>Building Blocks</a:t>
            </a:r>
            <a:endParaRPr kumimoji="0" lang="en-US" sz="11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0" name="Freeform: Shape 40">
            <a:extLst>
              <a:ext uri="{FF2B5EF4-FFF2-40B4-BE49-F238E27FC236}">
                <a16:creationId xmlns:a16="http://schemas.microsoft.com/office/drawing/2014/main" id="{AD98A379-C2FB-614B-BD6B-19FC98B3563F}"/>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1" name="Freeform: Shape 40">
            <a:extLst>
              <a:ext uri="{FF2B5EF4-FFF2-40B4-BE49-F238E27FC236}">
                <a16:creationId xmlns:a16="http://schemas.microsoft.com/office/drawing/2014/main" id="{65AB9C55-9B5F-DB49-BA2F-3AF9FA506F0D}"/>
              </a:ext>
            </a:extLst>
          </p:cNvPr>
          <p:cNvSpPr>
            <a:spLocks/>
          </p:cNvSpPr>
          <p:nvPr/>
        </p:nvSpPr>
        <p:spPr bwMode="auto">
          <a:xfrm rot="696709">
            <a:off x="945378" y="1389153"/>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3" name="moving straight is what we do">
            <a:extLst>
              <a:ext uri="{FF2B5EF4-FFF2-40B4-BE49-F238E27FC236}">
                <a16:creationId xmlns:a16="http://schemas.microsoft.com/office/drawing/2014/main" id="{550EE732-9C05-9341-9C26-F15CF93FF533}"/>
              </a:ext>
            </a:extLst>
          </p:cNvPr>
          <p:cNvSpPr txBox="1"/>
          <p:nvPr/>
        </p:nvSpPr>
        <p:spPr>
          <a:xfrm>
            <a:off x="1883970" y="753116"/>
            <a:ext cx="885261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Guide to Building Impactful Applications with Azure AI Studio</a:t>
            </a:r>
          </a:p>
        </p:txBody>
      </p:sp>
      <p:sp>
        <p:nvSpPr>
          <p:cNvPr id="314" name="TextBox 313">
            <a:extLst>
              <a:ext uri="{FF2B5EF4-FFF2-40B4-BE49-F238E27FC236}">
                <a16:creationId xmlns:a16="http://schemas.microsoft.com/office/drawing/2014/main" id="{3101030B-04D8-2746-94A4-08FD5B1FF248}"/>
              </a:ext>
            </a:extLst>
          </p:cNvPr>
          <p:cNvSpPr txBox="1"/>
          <p:nvPr/>
        </p:nvSpPr>
        <p:spPr>
          <a:xfrm>
            <a:off x="2397904" y="1364075"/>
            <a:ext cx="7622395" cy="1349087"/>
          </a:xfrm>
          <a:prstGeom prst="rect">
            <a:avLst/>
          </a:prstGeom>
          <a:noFill/>
        </p:spPr>
        <p:txBody>
          <a:bodyPr wrap="square" lIns="25200" rIns="90000" rtlCol="0">
            <a:spAutoFit/>
          </a:bodyPr>
          <a:lstStyle/>
          <a:p>
            <a:pPr lvl="0" algn="ctr" defTabSz="457200">
              <a:lnSpc>
                <a:spcPct val="150000"/>
              </a:lnSpc>
              <a:defRPr/>
            </a:pPr>
            <a:r>
              <a:rPr lang="en-US" sz="1400" dirty="0">
                <a:solidFill>
                  <a:prstClr val="white"/>
                </a:solidFill>
                <a:latin typeface="Roboto" panose="02000000000000000000" pitchFamily="2" charset="0"/>
                <a:ea typeface="Roboto" panose="02000000000000000000" pitchFamily="2" charset="0"/>
                <a:cs typeface="Roboto" panose="02000000000000000000" pitchFamily="2" charset="0"/>
              </a:rPr>
              <a:t>To deliver an AI-powered application, you must first set up your development environment correctly. Next, it's essential to understand the various building blocks of Azure AI Studio, which will enable you to develop, deploy, and integrate your applications effectively. Finally, focus on tailoring the application for the end user to ensure it provides real value and usability.</a:t>
            </a:r>
            <a:endParaRPr kumimoji="0" lang="en-IN" sz="14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 name="Group 1">
            <a:extLst>
              <a:ext uri="{FF2B5EF4-FFF2-40B4-BE49-F238E27FC236}">
                <a16:creationId xmlns:a16="http://schemas.microsoft.com/office/drawing/2014/main" id="{FD4D2D8C-6DDE-1744-BCA0-47AE8482863F}"/>
              </a:ext>
            </a:extLst>
          </p:cNvPr>
          <p:cNvGrpSpPr/>
          <p:nvPr/>
        </p:nvGrpSpPr>
        <p:grpSpPr>
          <a:xfrm>
            <a:off x="567293" y="3895804"/>
            <a:ext cx="1877631" cy="1394687"/>
            <a:chOff x="711754" y="4026044"/>
            <a:chExt cx="1877631" cy="1394687"/>
          </a:xfrm>
        </p:grpSpPr>
        <p:sp>
          <p:nvSpPr>
            <p:cNvPr id="341" name="Lorem ipsum dolor sit elit, consect loreretur adipiscing nisi aute.">
              <a:extLst>
                <a:ext uri="{FF2B5EF4-FFF2-40B4-BE49-F238E27FC236}">
                  <a16:creationId xmlns:a16="http://schemas.microsoft.com/office/drawing/2014/main" id="{C0B216F8-0F79-B141-83B9-440346467B50}"/>
                </a:ext>
              </a:extLst>
            </p:cNvPr>
            <p:cNvSpPr txBox="1"/>
            <p:nvPr/>
          </p:nvSpPr>
          <p:spPr>
            <a:xfrm>
              <a:off x="711754" y="4026044"/>
              <a:ext cx="1830494" cy="2789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a:t>
              </a:r>
            </a:p>
          </p:txBody>
        </p:sp>
        <p:sp>
          <p:nvSpPr>
            <p:cNvPr id="346" name="Lorem ipsum dolor sit elit, consect loreretur adipiscing nisi aute.">
              <a:extLst>
                <a:ext uri="{FF2B5EF4-FFF2-40B4-BE49-F238E27FC236}">
                  <a16:creationId xmlns:a16="http://schemas.microsoft.com/office/drawing/2014/main" id="{815BD03D-B812-994B-9C28-2A7E9C844449}"/>
                </a:ext>
              </a:extLst>
            </p:cNvPr>
            <p:cNvSpPr txBox="1"/>
            <p:nvPr/>
          </p:nvSpPr>
          <p:spPr>
            <a:xfrm>
              <a:off x="807766" y="4436487"/>
              <a:ext cx="1781619" cy="9842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ntroduction to the course and Azure AI Studio, including its distinction from Copilot Studio and integration with Azure architecture</a:t>
              </a:r>
            </a:p>
          </p:txBody>
        </p:sp>
      </p:grpSp>
      <p:grpSp>
        <p:nvGrpSpPr>
          <p:cNvPr id="3" name="Group 2">
            <a:extLst>
              <a:ext uri="{FF2B5EF4-FFF2-40B4-BE49-F238E27FC236}">
                <a16:creationId xmlns:a16="http://schemas.microsoft.com/office/drawing/2014/main" id="{F9C61211-A373-CF47-AE7F-7C953FC7E03A}"/>
              </a:ext>
            </a:extLst>
          </p:cNvPr>
          <p:cNvGrpSpPr/>
          <p:nvPr/>
        </p:nvGrpSpPr>
        <p:grpSpPr>
          <a:xfrm>
            <a:off x="3011299" y="4772305"/>
            <a:ext cx="1875589" cy="1268210"/>
            <a:chOff x="3011299" y="4772305"/>
            <a:chExt cx="1875589" cy="1268210"/>
          </a:xfrm>
        </p:grpSpPr>
        <p:sp>
          <p:nvSpPr>
            <p:cNvPr id="342" name="Lorem ipsum dolor sit elit, consect loreretur adipiscing nisi aute.">
              <a:extLst>
                <a:ext uri="{FF2B5EF4-FFF2-40B4-BE49-F238E27FC236}">
                  <a16:creationId xmlns:a16="http://schemas.microsoft.com/office/drawing/2014/main" id="{C478322D-B59F-F942-B3E5-B1F342A9C725}"/>
                </a:ext>
              </a:extLst>
            </p:cNvPr>
            <p:cNvSpPr txBox="1"/>
            <p:nvPr/>
          </p:nvSpPr>
          <p:spPr>
            <a:xfrm>
              <a:off x="3095175" y="4772305"/>
              <a:ext cx="1791713" cy="2789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nvironment</a:t>
              </a:r>
            </a:p>
          </p:txBody>
        </p:sp>
        <p:sp>
          <p:nvSpPr>
            <p:cNvPr id="347" name="Lorem ipsum dolor sit elit, consect loreretur adipiscing nisi aute.">
              <a:extLst>
                <a:ext uri="{FF2B5EF4-FFF2-40B4-BE49-F238E27FC236}">
                  <a16:creationId xmlns:a16="http://schemas.microsoft.com/office/drawing/2014/main" id="{AD170E77-6530-7F4E-A647-65A7432E4849}"/>
                </a:ext>
              </a:extLst>
            </p:cNvPr>
            <p:cNvSpPr txBox="1"/>
            <p:nvPr/>
          </p:nvSpPr>
          <p:spPr>
            <a:xfrm>
              <a:off x="3011299" y="5056271"/>
              <a:ext cx="1781619" cy="9842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mportance of setting up the environment correctly to follow along, including deploying an AI hub, a project, and a </a:t>
              </a:r>
              <a:r>
                <a:rPr kumimoji="0" lang="en-US" sz="900"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Jupyter</a:t>
              </a: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notebook</a:t>
              </a:r>
            </a:p>
          </p:txBody>
        </p:sp>
      </p:grpSp>
      <p:grpSp>
        <p:nvGrpSpPr>
          <p:cNvPr id="4" name="Group 3">
            <a:extLst>
              <a:ext uri="{FF2B5EF4-FFF2-40B4-BE49-F238E27FC236}">
                <a16:creationId xmlns:a16="http://schemas.microsoft.com/office/drawing/2014/main" id="{9E723427-FD45-FB44-8657-C33CB588BDE7}"/>
              </a:ext>
            </a:extLst>
          </p:cNvPr>
          <p:cNvGrpSpPr/>
          <p:nvPr/>
        </p:nvGrpSpPr>
        <p:grpSpPr>
          <a:xfrm>
            <a:off x="5214390" y="5030896"/>
            <a:ext cx="1881245" cy="1420411"/>
            <a:chOff x="5214390" y="5030896"/>
            <a:chExt cx="1881245" cy="1420411"/>
          </a:xfrm>
        </p:grpSpPr>
        <p:sp>
          <p:nvSpPr>
            <p:cNvPr id="343" name="Lorem ipsum dolor sit elit, consect loreretur adipiscing nisi aute.">
              <a:extLst>
                <a:ext uri="{FF2B5EF4-FFF2-40B4-BE49-F238E27FC236}">
                  <a16:creationId xmlns:a16="http://schemas.microsoft.com/office/drawing/2014/main" id="{47E620EE-A58B-8D43-A5B8-1DA3B7F5C3B5}"/>
                </a:ext>
              </a:extLst>
            </p:cNvPr>
            <p:cNvSpPr txBox="1"/>
            <p:nvPr/>
          </p:nvSpPr>
          <p:spPr>
            <a:xfrm>
              <a:off x="5214390" y="5030896"/>
              <a:ext cx="1791713" cy="2789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ing Blocks</a:t>
              </a:r>
            </a:p>
          </p:txBody>
        </p:sp>
        <p:sp>
          <p:nvSpPr>
            <p:cNvPr id="348" name="Lorem ipsum dolor sit elit, consect loreretur adipiscing nisi aute.">
              <a:extLst>
                <a:ext uri="{FF2B5EF4-FFF2-40B4-BE49-F238E27FC236}">
                  <a16:creationId xmlns:a16="http://schemas.microsoft.com/office/drawing/2014/main" id="{E1BF7822-AA28-9247-AEAA-09A1CB84DA1F}"/>
                </a:ext>
              </a:extLst>
            </p:cNvPr>
            <p:cNvSpPr txBox="1"/>
            <p:nvPr/>
          </p:nvSpPr>
          <p:spPr>
            <a:xfrm>
              <a:off x="5314016" y="5287527"/>
              <a:ext cx="1781619" cy="11637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eploying models and testing them in Chat Playground.</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ata indexing and integrating personal/company data.</a:t>
              </a:r>
            </a:p>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ocus on prompt flow builder to create AI applications.</a:t>
              </a:r>
            </a:p>
          </p:txBody>
        </p:sp>
      </p:grpSp>
      <p:grpSp>
        <p:nvGrpSpPr>
          <p:cNvPr id="5" name="Group 4">
            <a:extLst>
              <a:ext uri="{FF2B5EF4-FFF2-40B4-BE49-F238E27FC236}">
                <a16:creationId xmlns:a16="http://schemas.microsoft.com/office/drawing/2014/main" id="{1FBABD10-DB09-CA49-8CB9-4204DD43FF09}"/>
              </a:ext>
            </a:extLst>
          </p:cNvPr>
          <p:cNvGrpSpPr/>
          <p:nvPr/>
        </p:nvGrpSpPr>
        <p:grpSpPr>
          <a:xfrm>
            <a:off x="7664771" y="4791624"/>
            <a:ext cx="1781619" cy="1043979"/>
            <a:chOff x="7405344" y="4702942"/>
            <a:chExt cx="1781619" cy="1043979"/>
          </a:xfrm>
        </p:grpSpPr>
        <p:sp>
          <p:nvSpPr>
            <p:cNvPr id="344" name="Lorem ipsum dolor sit elit, consect loreretur adipiscing nisi aute.">
              <a:extLst>
                <a:ext uri="{FF2B5EF4-FFF2-40B4-BE49-F238E27FC236}">
                  <a16:creationId xmlns:a16="http://schemas.microsoft.com/office/drawing/2014/main" id="{7FDE217F-6665-AA4B-A01F-2AC837B01F35}"/>
                </a:ext>
              </a:extLst>
            </p:cNvPr>
            <p:cNvSpPr txBox="1"/>
            <p:nvPr/>
          </p:nvSpPr>
          <p:spPr>
            <a:xfrm>
              <a:off x="7635636" y="4702942"/>
              <a:ext cx="1371122" cy="2789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Build an app</a:t>
              </a:r>
            </a:p>
          </p:txBody>
        </p:sp>
        <p:sp>
          <p:nvSpPr>
            <p:cNvPr id="349" name="Lorem ipsum dolor sit elit, consect loreretur adipiscing nisi aute.">
              <a:extLst>
                <a:ext uri="{FF2B5EF4-FFF2-40B4-BE49-F238E27FC236}">
                  <a16:creationId xmlns:a16="http://schemas.microsoft.com/office/drawing/2014/main" id="{2AF040A0-B0FC-E843-B13F-F7775095095E}"/>
                </a:ext>
              </a:extLst>
            </p:cNvPr>
            <p:cNvSpPr txBox="1"/>
            <p:nvPr/>
          </p:nvSpPr>
          <p:spPr>
            <a:xfrm>
              <a:off x="7405344" y="4942214"/>
              <a:ext cx="1781619" cy="8047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Building and deploying comprehensive AI applications using opensource models and tools</a:t>
              </a:r>
            </a:p>
          </p:txBody>
        </p:sp>
      </p:grpSp>
      <p:grpSp>
        <p:nvGrpSpPr>
          <p:cNvPr id="6" name="Group 5">
            <a:extLst>
              <a:ext uri="{FF2B5EF4-FFF2-40B4-BE49-F238E27FC236}">
                <a16:creationId xmlns:a16="http://schemas.microsoft.com/office/drawing/2014/main" id="{7670A871-51CF-B542-A683-0BB544BA9407}"/>
              </a:ext>
            </a:extLst>
          </p:cNvPr>
          <p:cNvGrpSpPr/>
          <p:nvPr/>
        </p:nvGrpSpPr>
        <p:grpSpPr>
          <a:xfrm>
            <a:off x="9676682" y="4136916"/>
            <a:ext cx="1772708" cy="1111733"/>
            <a:chOff x="9450040" y="3975662"/>
            <a:chExt cx="1772708" cy="1111733"/>
          </a:xfrm>
        </p:grpSpPr>
        <p:sp>
          <p:nvSpPr>
            <p:cNvPr id="345" name="Lorem ipsum dolor sit elit, consect loreretur adipiscing nisi aute.">
              <a:extLst>
                <a:ext uri="{FF2B5EF4-FFF2-40B4-BE49-F238E27FC236}">
                  <a16:creationId xmlns:a16="http://schemas.microsoft.com/office/drawing/2014/main" id="{A8238556-9202-7542-849C-1EB3E7D9F857}"/>
                </a:ext>
              </a:extLst>
            </p:cNvPr>
            <p:cNvSpPr txBox="1"/>
            <p:nvPr/>
          </p:nvSpPr>
          <p:spPr>
            <a:xfrm>
              <a:off x="9450040" y="3975662"/>
              <a:ext cx="1772707" cy="2789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iscuss next steps </a:t>
              </a:r>
            </a:p>
          </p:txBody>
        </p:sp>
        <p:sp>
          <p:nvSpPr>
            <p:cNvPr id="350" name="Lorem ipsum dolor sit elit, consect loreretur adipiscing nisi aute.">
              <a:extLst>
                <a:ext uri="{FF2B5EF4-FFF2-40B4-BE49-F238E27FC236}">
                  <a16:creationId xmlns:a16="http://schemas.microsoft.com/office/drawing/2014/main" id="{7EF0E09E-1E20-DA42-AABB-9B0A1B4BC741}"/>
                </a:ext>
              </a:extLst>
            </p:cNvPr>
            <p:cNvSpPr txBox="1"/>
            <p:nvPr/>
          </p:nvSpPr>
          <p:spPr>
            <a:xfrm>
              <a:off x="9473860" y="4462224"/>
              <a:ext cx="1748888" cy="6251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lang="en-US" sz="900" dirty="0">
                  <a:solidFill>
                    <a:prstClr val="black"/>
                  </a:solidFill>
                  <a:latin typeface="Roboto" panose="02000000000000000000" pitchFamily="2" charset="0"/>
                  <a:ea typeface="Roboto" panose="02000000000000000000" pitchFamily="2" charset="0"/>
                  <a:cs typeface="Roboto" panose="02000000000000000000" pitchFamily="2" charset="0"/>
                </a:rPr>
                <a:t>Collaborate on selecting and implementing the right technology to create value</a:t>
              </a:r>
              <a:endPar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1982986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anim calcmode="lin" valueType="num">
                                      <p:cBhvr>
                                        <p:cTn id="8" dur="2000" fill="hold"/>
                                        <p:tgtEl>
                                          <p:spTgt spid="50"/>
                                        </p:tgtEl>
                                        <p:attrNameLst>
                                          <p:attrName>ppt_x</p:attrName>
                                        </p:attrNameLst>
                                      </p:cBhvr>
                                      <p:tavLst>
                                        <p:tav tm="0">
                                          <p:val>
                                            <p:strVal val="#ppt_x"/>
                                          </p:val>
                                        </p:tav>
                                        <p:tav tm="100000">
                                          <p:val>
                                            <p:strVal val="#ppt_x"/>
                                          </p:val>
                                        </p:tav>
                                      </p:tavLst>
                                    </p:anim>
                                    <p:anim calcmode="lin" valueType="num">
                                      <p:cBhvr>
                                        <p:cTn id="9" dur="2000" fill="hold"/>
                                        <p:tgtEl>
                                          <p:spTgt spid="50"/>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310"/>
                                        </p:tgtEl>
                                        <p:attrNameLst>
                                          <p:attrName>style.visibility</p:attrName>
                                        </p:attrNameLst>
                                      </p:cBhvr>
                                      <p:to>
                                        <p:strVal val="visible"/>
                                      </p:to>
                                    </p:set>
                                    <p:anim calcmode="lin" valueType="num">
                                      <p:cBhvr>
                                        <p:cTn id="12" dur="1000" fill="hold"/>
                                        <p:tgtEl>
                                          <p:spTgt spid="310"/>
                                        </p:tgtEl>
                                        <p:attrNameLst>
                                          <p:attrName>ppt_w</p:attrName>
                                        </p:attrNameLst>
                                      </p:cBhvr>
                                      <p:tavLst>
                                        <p:tav tm="0">
                                          <p:val>
                                            <p:fltVal val="0"/>
                                          </p:val>
                                        </p:tav>
                                        <p:tav tm="100000">
                                          <p:val>
                                            <p:strVal val="#ppt_w"/>
                                          </p:val>
                                        </p:tav>
                                      </p:tavLst>
                                    </p:anim>
                                    <p:anim calcmode="lin" valueType="num">
                                      <p:cBhvr>
                                        <p:cTn id="13" dur="1000" fill="hold"/>
                                        <p:tgtEl>
                                          <p:spTgt spid="3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311"/>
                                        </p:tgtEl>
                                        <p:attrNameLst>
                                          <p:attrName>style.visibility</p:attrName>
                                        </p:attrNameLst>
                                      </p:cBhvr>
                                      <p:to>
                                        <p:strVal val="visible"/>
                                      </p:to>
                                    </p:set>
                                    <p:anim calcmode="lin" valueType="num">
                                      <p:cBhvr>
                                        <p:cTn id="16" dur="500" fill="hold"/>
                                        <p:tgtEl>
                                          <p:spTgt spid="311"/>
                                        </p:tgtEl>
                                        <p:attrNameLst>
                                          <p:attrName>ppt_w</p:attrName>
                                        </p:attrNameLst>
                                      </p:cBhvr>
                                      <p:tavLst>
                                        <p:tav tm="0">
                                          <p:val>
                                            <p:fltVal val="0"/>
                                          </p:val>
                                        </p:tav>
                                        <p:tav tm="100000">
                                          <p:val>
                                            <p:strVal val="#ppt_w"/>
                                          </p:val>
                                        </p:tav>
                                      </p:tavLst>
                                    </p:anim>
                                    <p:anim calcmode="lin" valueType="num">
                                      <p:cBhvr>
                                        <p:cTn id="17" dur="500" fill="hold"/>
                                        <p:tgtEl>
                                          <p:spTgt spid="3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1000" fill="hold"/>
                                        <p:tgtEl>
                                          <p:spTgt spid="41"/>
                                        </p:tgtEl>
                                        <p:attrNameLst>
                                          <p:attrName>ppt_w</p:attrName>
                                        </p:attrNameLst>
                                      </p:cBhvr>
                                      <p:tavLst>
                                        <p:tav tm="0">
                                          <p:val>
                                            <p:fltVal val="0"/>
                                          </p:val>
                                        </p:tav>
                                        <p:tav tm="100000">
                                          <p:val>
                                            <p:strVal val="#ppt_w"/>
                                          </p:val>
                                        </p:tav>
                                      </p:tavLst>
                                    </p:anim>
                                    <p:anim calcmode="lin" valueType="num">
                                      <p:cBhvr>
                                        <p:cTn id="21" dur="1000" fill="hold"/>
                                        <p:tgtEl>
                                          <p:spTgt spid="41"/>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314"/>
                                        </p:tgtEl>
                                        <p:attrNameLst>
                                          <p:attrName>style.visibility</p:attrName>
                                        </p:attrNameLst>
                                      </p:cBhvr>
                                      <p:to>
                                        <p:strVal val="visible"/>
                                      </p:to>
                                    </p:set>
                                    <p:animEffect transition="in" filter="fade">
                                      <p:cBhvr>
                                        <p:cTn id="24" dur="1000"/>
                                        <p:tgtEl>
                                          <p:spTgt spid="314"/>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0"/>
                                        <p:tgtEl>
                                          <p:spTgt spid="42"/>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97"/>
                                        </p:tgtEl>
                                        <p:attrNameLst>
                                          <p:attrName>style.visibility</p:attrName>
                                        </p:attrNameLst>
                                      </p:cBhvr>
                                      <p:to>
                                        <p:strVal val="visible"/>
                                      </p:to>
                                    </p:set>
                                    <p:anim calcmode="lin" valueType="num">
                                      <p:cBhvr>
                                        <p:cTn id="30" dur="1000" fill="hold"/>
                                        <p:tgtEl>
                                          <p:spTgt spid="97"/>
                                        </p:tgtEl>
                                        <p:attrNameLst>
                                          <p:attrName>ppt_w</p:attrName>
                                        </p:attrNameLst>
                                      </p:cBhvr>
                                      <p:tavLst>
                                        <p:tav tm="0">
                                          <p:val>
                                            <p:fltVal val="0"/>
                                          </p:val>
                                        </p:tav>
                                        <p:tav tm="100000">
                                          <p:val>
                                            <p:strVal val="#ppt_w"/>
                                          </p:val>
                                        </p:tav>
                                      </p:tavLst>
                                    </p:anim>
                                    <p:anim calcmode="lin" valueType="num">
                                      <p:cBhvr>
                                        <p:cTn id="31" dur="1000" fill="hold"/>
                                        <p:tgtEl>
                                          <p:spTgt spid="97"/>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194"/>
                                        </p:tgtEl>
                                        <p:attrNameLst>
                                          <p:attrName>style.visibility</p:attrName>
                                        </p:attrNameLst>
                                      </p:cBhvr>
                                      <p:to>
                                        <p:strVal val="visible"/>
                                      </p:to>
                                    </p:set>
                                    <p:animEffect transition="in" filter="fade">
                                      <p:cBhvr>
                                        <p:cTn id="39" dur="1000"/>
                                        <p:tgtEl>
                                          <p:spTgt spid="194"/>
                                        </p:tgtEl>
                                      </p:cBhvr>
                                    </p:animEffect>
                                  </p:childTnLst>
                                </p:cTn>
                              </p:par>
                              <p:par>
                                <p:cTn id="40" presetID="0" presetClass="path" presetSubtype="0" fill="hold" grpId="1" nodeType="withEffect">
                                  <p:stCondLst>
                                    <p:cond delay="1000"/>
                                  </p:stCondLst>
                                  <p:childTnLst>
                                    <p:animMotion origin="layout" path="M -0.17188 -0.11065 C -0.16523 -0.10232 -0.15846 -0.09352 -0.15039 -0.08611 C -0.14219 -0.07848 -0.13529 -0.07408 -0.12292 -0.06574 C -0.11042 -0.05741 -0.09141 -0.04537 -0.07578 -0.03611 C -0.0599 -0.02709 -0.04102 -0.01713 -0.02839 -0.01135 C -0.01589 -0.00533 -0.00807 -0.00278 2.08333E-7 2.96296E-6 " pathEditMode="relative" rAng="0" ptsTypes="AAAAAA">
                                      <p:cBhvr>
                                        <p:cTn id="41" dur="1000" fill="hold"/>
                                        <p:tgtEl>
                                          <p:spTgt spid="194"/>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anim calcmode="lin" valueType="num">
                                      <p:cBhvr>
                                        <p:cTn id="45" dur="1000" fill="hold"/>
                                        <p:tgtEl>
                                          <p:spTgt spid="3"/>
                                        </p:tgtEl>
                                        <p:attrNameLst>
                                          <p:attrName>ppt_x</p:attrName>
                                        </p:attrNameLst>
                                      </p:cBhvr>
                                      <p:tavLst>
                                        <p:tav tm="0">
                                          <p:val>
                                            <p:strVal val="#ppt_x"/>
                                          </p:val>
                                        </p:tav>
                                        <p:tav tm="100000">
                                          <p:val>
                                            <p:strVal val="#ppt_x"/>
                                          </p:val>
                                        </p:tav>
                                      </p:tavLst>
                                    </p:anim>
                                    <p:anim calcmode="lin" valueType="num">
                                      <p:cBhvr>
                                        <p:cTn id="46" dur="1000" fill="hold"/>
                                        <p:tgtEl>
                                          <p:spTgt spid="3"/>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272"/>
                                        </p:tgtEl>
                                        <p:attrNameLst>
                                          <p:attrName>style.visibility</p:attrName>
                                        </p:attrNameLst>
                                      </p:cBhvr>
                                      <p:to>
                                        <p:strVal val="visible"/>
                                      </p:to>
                                    </p:set>
                                    <p:animEffect transition="in" filter="fade">
                                      <p:cBhvr>
                                        <p:cTn id="49" dur="1000"/>
                                        <p:tgtEl>
                                          <p:spTgt spid="272"/>
                                        </p:tgtEl>
                                      </p:cBhvr>
                                    </p:animEffect>
                                  </p:childTnLst>
                                </p:cTn>
                              </p:par>
                              <p:par>
                                <p:cTn id="50" presetID="0" presetClass="path" presetSubtype="0" fill="hold" grpId="1" nodeType="withEffect">
                                  <p:stCondLst>
                                    <p:cond delay="2000"/>
                                  </p:stCondLst>
                                  <p:childTnLst>
                                    <p:animMotion origin="layout" path="M -0.18164 -0.04375 C -0.16992 -0.03797 -0.15807 -0.03195 -0.1444 -0.02709 C -0.13073 -0.02223 -0.11263 -0.01806 -0.09948 -0.01482 C -0.08607 -0.01181 -0.07617 -0.01042 -0.06484 -0.00857 C -0.05339 -0.00672 -0.0418 -0.00533 -0.03099 -0.00394 C -0.02031 -0.00278 -0.01016 -0.00186 -2.08333E-7 -0.0007 " pathEditMode="relative" rAng="0" ptsTypes="AAAAAA">
                                      <p:cBhvr>
                                        <p:cTn id="51" dur="1000" fill="hold"/>
                                        <p:tgtEl>
                                          <p:spTgt spid="272"/>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233"/>
                                        </p:tgtEl>
                                        <p:attrNameLst>
                                          <p:attrName>style.visibility</p:attrName>
                                        </p:attrNameLst>
                                      </p:cBhvr>
                                      <p:to>
                                        <p:strVal val="visible"/>
                                      </p:to>
                                    </p:set>
                                    <p:animEffect transition="in" filter="fade">
                                      <p:cBhvr>
                                        <p:cTn id="59" dur="1000"/>
                                        <p:tgtEl>
                                          <p:spTgt spid="233"/>
                                        </p:tgtEl>
                                      </p:cBhvr>
                                    </p:animEffect>
                                  </p:childTnLst>
                                </p:cTn>
                              </p:par>
                              <p:par>
                                <p:cTn id="60" presetID="0" presetClass="path" presetSubtype="0" fill="hold" grpId="1" nodeType="withEffect">
                                  <p:stCondLst>
                                    <p:cond delay="3000"/>
                                  </p:stCondLst>
                                  <p:childTnLst>
                                    <p:animMotion origin="layout" path="M -0.18242 0.04305 C -0.17591 0.04444 -0.15859 0.04629 -0.15859 0.04676 C -0.14804 0.04676 -0.13281 0.04676 -0.11888 0.0449 C -0.10521 0.04282 -0.08971 0.03865 -0.07565 0.03495 C -0.06159 0.03102 -0.04674 0.02708 -0.03411 0.02176 C -0.02161 0.01666 -0.0108 0.01018 0.00013 0.00393 " pathEditMode="relative" rAng="0" ptsTypes="AAAAAA">
                                      <p:cBhvr>
                                        <p:cTn id="61" dur="1000" fill="hold"/>
                                        <p:tgtEl>
                                          <p:spTgt spid="233"/>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1000"/>
                                        <p:tgtEl>
                                          <p:spTgt spid="5"/>
                                        </p:tgtEl>
                                      </p:cBhvr>
                                    </p:animEffect>
                                    <p:anim calcmode="lin" valueType="num">
                                      <p:cBhvr>
                                        <p:cTn id="65" dur="1000" fill="hold"/>
                                        <p:tgtEl>
                                          <p:spTgt spid="5"/>
                                        </p:tgtEl>
                                        <p:attrNameLst>
                                          <p:attrName>ppt_x</p:attrName>
                                        </p:attrNameLst>
                                      </p:cBhvr>
                                      <p:tavLst>
                                        <p:tav tm="0">
                                          <p:val>
                                            <p:strVal val="#ppt_x"/>
                                          </p:val>
                                        </p:tav>
                                        <p:tav tm="100000">
                                          <p:val>
                                            <p:strVal val="#ppt_x"/>
                                          </p:val>
                                        </p:tav>
                                      </p:tavLst>
                                    </p:anim>
                                    <p:anim calcmode="lin" valueType="num">
                                      <p:cBhvr>
                                        <p:cTn id="66" dur="1000" fill="hold"/>
                                        <p:tgtEl>
                                          <p:spTgt spid="5"/>
                                        </p:tgtEl>
                                        <p:attrNameLst>
                                          <p:attrName>ppt_y</p:attrName>
                                        </p:attrNameLst>
                                      </p:cBhvr>
                                      <p:tavLst>
                                        <p:tav tm="0">
                                          <p:val>
                                            <p:strVal val="#ppt_y-.1"/>
                                          </p:val>
                                        </p:tav>
                                        <p:tav tm="100000">
                                          <p:val>
                                            <p:strVal val="#ppt_y"/>
                                          </p:val>
                                        </p:tav>
                                      </p:tavLst>
                                    </p:anim>
                                  </p:childTnLst>
                                </p:cTn>
                              </p:par>
                              <p:par>
                                <p:cTn id="67" presetID="10" presetClass="entr" presetSubtype="0" fill="hold" grpId="0" nodeType="withEffect">
                                  <p:stCondLst>
                                    <p:cond delay="4000"/>
                                  </p:stCondLst>
                                  <p:childTnLst>
                                    <p:set>
                                      <p:cBhvr>
                                        <p:cTn id="68" dur="1" fill="hold">
                                          <p:stCondLst>
                                            <p:cond delay="0"/>
                                          </p:stCondLst>
                                        </p:cTn>
                                        <p:tgtEl>
                                          <p:spTgt spid="146"/>
                                        </p:tgtEl>
                                        <p:attrNameLst>
                                          <p:attrName>style.visibility</p:attrName>
                                        </p:attrNameLst>
                                      </p:cBhvr>
                                      <p:to>
                                        <p:strVal val="visible"/>
                                      </p:to>
                                    </p:set>
                                    <p:animEffect transition="in" filter="fade">
                                      <p:cBhvr>
                                        <p:cTn id="69" dur="1000"/>
                                        <p:tgtEl>
                                          <p:spTgt spid="146"/>
                                        </p:tgtEl>
                                      </p:cBhvr>
                                    </p:animEffect>
                                  </p:childTnLst>
                                </p:cTn>
                              </p:par>
                              <p:par>
                                <p:cTn id="70" presetID="0" presetClass="path" presetSubtype="0" fill="hold" grpId="1" nodeType="withEffect">
                                  <p:stCondLst>
                                    <p:cond delay="4000"/>
                                  </p:stCondLst>
                                  <p:childTnLst>
                                    <p:animMotion origin="layout" path="M -0.16524 0.11111 C -0.1517 0.10602 -0.13802 0.10139 -0.12409 0.09468 C -0.11016 0.08773 -0.09388 0.07755 -0.0819 0.07037 C -0.06979 0.06273 -0.06146 0.05648 -0.0517 0.04908 C -0.04206 0.04144 -0.03229 0.03264 -0.0237 0.02477 C -0.01498 0.01644 -0.00756 0.00833 3.125E-6 0.00046 " pathEditMode="relative" rAng="0" ptsTypes="AAAAAA">
                                      <p:cBhvr>
                                        <p:cTn id="71" dur="1000" fill="hold"/>
                                        <p:tgtEl>
                                          <p:spTgt spid="146"/>
                                        </p:tgtEl>
                                        <p:attrNameLst>
                                          <p:attrName>ppt_x</p:attrName>
                                          <p:attrName>ppt_y</p:attrName>
                                        </p:attrNameLst>
                                      </p:cBhvr>
                                      <p:rCtr x="8255" y="-5532"/>
                                    </p:animMotion>
                                  </p:childTnLst>
                                </p:cTn>
                              </p:par>
                              <p:par>
                                <p:cTn id="72" presetID="47" presetClass="entr" presetSubtype="0" fill="hold" nodeType="withEffect">
                                  <p:stCondLst>
                                    <p:cond delay="400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1000"/>
                                        <p:tgtEl>
                                          <p:spTgt spid="6"/>
                                        </p:tgtEl>
                                      </p:cBhvr>
                                    </p:animEffect>
                                    <p:anim calcmode="lin" valueType="num">
                                      <p:cBhvr>
                                        <p:cTn id="75" dur="1000" fill="hold"/>
                                        <p:tgtEl>
                                          <p:spTgt spid="6"/>
                                        </p:tgtEl>
                                        <p:attrNameLst>
                                          <p:attrName>ppt_x</p:attrName>
                                        </p:attrNameLst>
                                      </p:cBhvr>
                                      <p:tavLst>
                                        <p:tav tm="0">
                                          <p:val>
                                            <p:strVal val="#ppt_x"/>
                                          </p:val>
                                        </p:tav>
                                        <p:tav tm="100000">
                                          <p:val>
                                            <p:strVal val="#ppt_x"/>
                                          </p:val>
                                        </p:tav>
                                      </p:tavLst>
                                    </p:anim>
                                    <p:anim calcmode="lin" valueType="num">
                                      <p:cBhvr>
                                        <p:cTn id="7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animBg="1"/>
      <p:bldP spid="42" grpId="0" animBg="1"/>
      <p:bldP spid="97" grpId="0" animBg="1"/>
      <p:bldP spid="146" grpId="0" animBg="1"/>
      <p:bldP spid="146" grpId="1" animBg="1"/>
      <p:bldP spid="194" grpId="0" animBg="1"/>
      <p:bldP spid="194" grpId="1" animBg="1"/>
      <p:bldP spid="233" grpId="0" animBg="1"/>
      <p:bldP spid="233" grpId="1" animBg="1"/>
      <p:bldP spid="272" grpId="0" animBg="1"/>
      <p:bldP spid="272" grpId="1" animBg="1"/>
      <p:bldP spid="310" grpId="0" animBg="1"/>
      <p:bldP spid="311" grpId="0" animBg="1"/>
      <p:bldP spid="314"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CD36F6F-DA7B-EFB6-E41D-6865F0589FEE}"/>
            </a:ext>
          </a:extLst>
        </p:cNvPr>
        <p:cNvGrpSpPr/>
        <p:nvPr/>
      </p:nvGrpSpPr>
      <p:grpSpPr>
        <a:xfrm>
          <a:off x="0" y="0"/>
          <a:ext cx="0" cy="0"/>
          <a:chOff x="0" y="0"/>
          <a:chExt cx="0" cy="0"/>
        </a:xfrm>
      </p:grpSpPr>
      <p:sp useBgFill="1">
        <p:nvSpPr>
          <p:cNvPr id="1028" name="Rectangle 1027">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9" name="Rectangle 1028">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0" name="Rectangle 1029">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2" name="Rectangle 1031">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4" name="Freeform: Shape 1033">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91F1768F-3BF2-1C52-46DD-D30ADC8BF7CD}"/>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1026" name="Picture 2">
            <a:extLst>
              <a:ext uri="{FF2B5EF4-FFF2-40B4-BE49-F238E27FC236}">
                <a16:creationId xmlns:a16="http://schemas.microsoft.com/office/drawing/2014/main" id="{A072AB96-CEAD-A965-EB1C-8C3E95086E4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02428" y="1270308"/>
            <a:ext cx="7225748" cy="431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597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48FEA15-3B1D-C586-7C1A-E3288E40D924}"/>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D8835120-0983-E746-452F-EE14864010CF}"/>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 name="Picture 4">
            <a:hlinkClick r:id="rId3"/>
            <a:extLst>
              <a:ext uri="{FF2B5EF4-FFF2-40B4-BE49-F238E27FC236}">
                <a16:creationId xmlns:a16="http://schemas.microsoft.com/office/drawing/2014/main" id="{CA2BD343-EB63-2C9B-8652-7268A8E508BD}"/>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502428" y="1297405"/>
            <a:ext cx="7225748" cy="426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144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B2338AD-9067-8971-EB9A-C9CB3B45F50C}"/>
            </a:ext>
          </a:extLst>
        </p:cNvPr>
        <p:cNvGrpSpPr/>
        <p:nvPr/>
      </p:nvGrpSpPr>
      <p:grpSpPr>
        <a:xfrm>
          <a:off x="0" y="0"/>
          <a:ext cx="0" cy="0"/>
          <a:chOff x="0" y="0"/>
          <a:chExt cx="0" cy="0"/>
        </a:xfrm>
      </p:grpSpPr>
      <p:sp useBgFill="1">
        <p:nvSpPr>
          <p:cNvPr id="2054" name="Rectangle 205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6" name="Rectangle 2055">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8" name="Rectangle 2057">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3" name="Rectangle 2062">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5" name="Freeform: Shape 2064">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Title 3">
            <a:extLst>
              <a:ext uri="{FF2B5EF4-FFF2-40B4-BE49-F238E27FC236}">
                <a16:creationId xmlns:a16="http://schemas.microsoft.com/office/drawing/2014/main" id="{3F1CC280-F551-0C6C-D2D1-6B3CDFA69B43}"/>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Azure AI Foundry Architecture </a:t>
            </a:r>
          </a:p>
        </p:txBody>
      </p:sp>
      <p:pic>
        <p:nvPicPr>
          <p:cNvPr id="2052" name="Picture 4">
            <a:extLst>
              <a:ext uri="{FF2B5EF4-FFF2-40B4-BE49-F238E27FC236}">
                <a16:creationId xmlns:a16="http://schemas.microsoft.com/office/drawing/2014/main" id="{D3560BF0-B0CC-54BB-CB90-3210505358D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02428" y="719344"/>
            <a:ext cx="7225748" cy="5419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40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88B20-0E3B-926D-3A53-9E100C1AB0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FB3600-EC1F-67DA-5FC2-A6BA9ED143BC}"/>
              </a:ext>
            </a:extLst>
          </p:cNvPr>
          <p:cNvSpPr>
            <a:spLocks noGrp="1"/>
          </p:cNvSpPr>
          <p:nvPr>
            <p:ph type="title"/>
          </p:nvPr>
        </p:nvSpPr>
        <p:spPr>
          <a:xfrm>
            <a:off x="584200" y="2979778"/>
            <a:ext cx="9144000" cy="553998"/>
          </a:xfrm>
        </p:spPr>
        <p:txBody>
          <a:bodyPr/>
          <a:lstStyle/>
          <a:p>
            <a:r>
              <a:rPr lang="en-US" dirty="0">
                <a:cs typeface="Segoe UI"/>
              </a:rPr>
              <a:t>Introduction</a:t>
            </a:r>
            <a:endParaRPr lang="en-US" dirty="0"/>
          </a:p>
        </p:txBody>
      </p:sp>
    </p:spTree>
    <p:extLst>
      <p:ext uri="{BB962C8B-B14F-4D97-AF65-F5344CB8AC3E}">
        <p14:creationId xmlns:p14="http://schemas.microsoft.com/office/powerpoint/2010/main" val="358189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100000">
              <a:srgbClr val="D5D5D5"/>
            </a:gs>
            <a:gs pos="0">
              <a:schemeClr val="bg1"/>
            </a:gs>
          </a:gsLst>
          <a:lin ang="2700000" scaled="1"/>
        </a:gradFill>
        <a:effectLst/>
      </p:bgPr>
    </p:bg>
    <p:spTree>
      <p:nvGrpSpPr>
        <p:cNvPr id="1" name=""/>
        <p:cNvGrpSpPr/>
        <p:nvPr/>
      </p:nvGrpSpPr>
      <p:grpSpPr>
        <a:xfrm>
          <a:off x="0" y="0"/>
          <a:ext cx="0" cy="0"/>
          <a:chOff x="0" y="0"/>
          <a:chExt cx="0" cy="0"/>
        </a:xfrm>
      </p:grpSpPr>
      <p:sp>
        <p:nvSpPr>
          <p:cNvPr id="10" name="Rectangle: Single Corner Rounded 39">
            <a:extLst>
              <a:ext uri="{FF2B5EF4-FFF2-40B4-BE49-F238E27FC236}">
                <a16:creationId xmlns:a16="http://schemas.microsoft.com/office/drawing/2014/main" id="{6BDA750A-51C4-6343-B9B8-9C7DFA6C67BC}"/>
              </a:ext>
            </a:extLst>
          </p:cNvPr>
          <p:cNvSpPr/>
          <p:nvPr/>
        </p:nvSpPr>
        <p:spPr>
          <a:xfrm>
            <a:off x="0" y="1478526"/>
            <a:ext cx="11149261" cy="5379474"/>
          </a:xfrm>
          <a:prstGeom prst="round1Rect">
            <a:avLst>
              <a:gd name="adj" fmla="val 15662"/>
            </a:avLst>
          </a:prstGeom>
          <a:gradFill>
            <a:gsLst>
              <a:gs pos="74000">
                <a:srgbClr val="3C649A"/>
              </a:gs>
              <a:gs pos="0">
                <a:srgbClr val="233A59"/>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17" name="Table 16">
            <a:extLst>
              <a:ext uri="{FF2B5EF4-FFF2-40B4-BE49-F238E27FC236}">
                <a16:creationId xmlns:a16="http://schemas.microsoft.com/office/drawing/2014/main" id="{6B29ACE6-D3FC-9442-8C13-1D9CCF67547E}"/>
              </a:ext>
            </a:extLst>
          </p:cNvPr>
          <p:cNvGraphicFramePr>
            <a:graphicFrameLocks noGrp="1"/>
          </p:cNvGraphicFramePr>
          <p:nvPr>
            <p:extLst>
              <p:ext uri="{D42A27DB-BD31-4B8C-83A1-F6EECF244321}">
                <p14:modId xmlns:p14="http://schemas.microsoft.com/office/powerpoint/2010/main" val="813656217"/>
              </p:ext>
            </p:extLst>
          </p:nvPr>
        </p:nvGraphicFramePr>
        <p:xfrm>
          <a:off x="788410" y="4538109"/>
          <a:ext cx="10257276" cy="1655388"/>
        </p:xfrm>
        <a:graphic>
          <a:graphicData uri="http://schemas.openxmlformats.org/drawingml/2006/table">
            <a:tbl>
              <a:tblPr firstRow="1" bandRow="1">
                <a:tableStyleId>{C4B1156A-380E-4F78-BDF5-A606A8083BF9}</a:tableStyleId>
              </a:tblPr>
              <a:tblGrid>
                <a:gridCol w="3837192">
                  <a:extLst>
                    <a:ext uri="{9D8B030D-6E8A-4147-A177-3AD203B41FA5}">
                      <a16:colId xmlns:a16="http://schemas.microsoft.com/office/drawing/2014/main" val="2650307936"/>
                    </a:ext>
                  </a:extLst>
                </a:gridCol>
                <a:gridCol w="6420084">
                  <a:extLst>
                    <a:ext uri="{9D8B030D-6E8A-4147-A177-3AD203B41FA5}">
                      <a16:colId xmlns:a16="http://schemas.microsoft.com/office/drawing/2014/main" val="4286264654"/>
                    </a:ext>
                  </a:extLst>
                </a:gridCol>
              </a:tblGrid>
              <a:tr h="413847">
                <a:tc rowSpan="4">
                  <a:txBody>
                    <a:bodyPr/>
                    <a:lstStyle/>
                    <a:p>
                      <a:pPr algn="ctr"/>
                      <a:r>
                        <a:rPr lang="en-US" sz="1200" b="1" spc="0" dirty="0">
                          <a:solidFill>
                            <a:schemeClr val="tx1">
                              <a:lumMod val="50000"/>
                            </a:schemeClr>
                          </a:solidFill>
                        </a:rPr>
                        <a:t>Video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it-IT"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zure AI Studio - Complete Guide to Azure AI Studio (</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hlinkClick r:id="rId2"/>
                        </a:rPr>
                        <a:t>https://shorturl.at/VbdwQ</a:t>
                      </a:r>
                      <a:r>
                        <a:rPr lang="en-US" sz="1000" b="1" spc="0" dirty="0">
                          <a:solidFill>
                            <a:schemeClr val="tx1">
                              <a:lumMod val="50000"/>
                            </a:schemeClr>
                          </a:solidFill>
                          <a:latin typeface="Roboto" panose="02000000000000000000" pitchFamily="2" charset="0"/>
                          <a:ea typeface="Roboto" panose="02000000000000000000" pitchFamily="2" charset="0"/>
                          <a:cs typeface="Roboto" panose="02000000000000000000" pitchFamily="2" charset="0"/>
                        </a:rPr>
                        <a:t>)</a:t>
                      </a:r>
                    </a:p>
                  </a:txBody>
                  <a:tcPr marL="274320" anchor="ctr"/>
                </a:tc>
                <a:extLst>
                  <a:ext uri="{0D108BD9-81ED-4DB2-BD59-A6C34878D82A}">
                    <a16:rowId xmlns:a16="http://schemas.microsoft.com/office/drawing/2014/main" val="1960334357"/>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latin typeface="Roboto" panose="02000000000000000000" pitchFamily="2" charset="0"/>
                          <a:ea typeface="Roboto" panose="02000000000000000000" pitchFamily="2" charset="0"/>
                          <a:cs typeface="Roboto" panose="02000000000000000000" pitchFamily="2" charset="0"/>
                        </a:rPr>
                        <a:t>https://www.youtube.com/watch?v=ra-AT0LZaCM</a:t>
                      </a:r>
                    </a:p>
                  </a:txBody>
                  <a:tcPr marL="274320" anchor="ctr"/>
                </a:tc>
                <a:extLst>
                  <a:ext uri="{0D108BD9-81ED-4DB2-BD59-A6C34878D82A}">
                    <a16:rowId xmlns:a16="http://schemas.microsoft.com/office/drawing/2014/main" val="2575160660"/>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1217524284"/>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spc="0" dirty="0">
                        <a:latin typeface="Century Gothic" panose="020B0502020202020204" pitchFamily="34" charset="0"/>
                      </a:endParaRPr>
                    </a:p>
                  </a:txBody>
                  <a:tcPr marL="274320" anchor="ctr"/>
                </a:tc>
                <a:extLst>
                  <a:ext uri="{0D108BD9-81ED-4DB2-BD59-A6C34878D82A}">
                    <a16:rowId xmlns:a16="http://schemas.microsoft.com/office/drawing/2014/main" val="4049076859"/>
                  </a:ext>
                </a:extLst>
              </a:tr>
            </a:tbl>
          </a:graphicData>
        </a:graphic>
      </p:graphicFrame>
      <p:graphicFrame>
        <p:nvGraphicFramePr>
          <p:cNvPr id="18" name="Table 17">
            <a:extLst>
              <a:ext uri="{FF2B5EF4-FFF2-40B4-BE49-F238E27FC236}">
                <a16:creationId xmlns:a16="http://schemas.microsoft.com/office/drawing/2014/main" id="{F1376CB9-0D5E-354D-A408-5B3AA3F16BB0}"/>
              </a:ext>
            </a:extLst>
          </p:cNvPr>
          <p:cNvGraphicFramePr>
            <a:graphicFrameLocks noGrp="1"/>
          </p:cNvGraphicFramePr>
          <p:nvPr>
            <p:extLst>
              <p:ext uri="{D42A27DB-BD31-4B8C-83A1-F6EECF244321}">
                <p14:modId xmlns:p14="http://schemas.microsoft.com/office/powerpoint/2010/main" val="3223228156"/>
              </p:ext>
            </p:extLst>
          </p:nvPr>
        </p:nvGraphicFramePr>
        <p:xfrm>
          <a:off x="786065" y="2155551"/>
          <a:ext cx="10259621" cy="1218558"/>
        </p:xfrm>
        <a:graphic>
          <a:graphicData uri="http://schemas.openxmlformats.org/drawingml/2006/table">
            <a:tbl>
              <a:tblPr firstRow="1" bandRow="1">
                <a:tableStyleId>{C4B1156A-380E-4F78-BDF5-A606A8083BF9}</a:tableStyleId>
              </a:tblPr>
              <a:tblGrid>
                <a:gridCol w="4050555">
                  <a:extLst>
                    <a:ext uri="{9D8B030D-6E8A-4147-A177-3AD203B41FA5}">
                      <a16:colId xmlns:a16="http://schemas.microsoft.com/office/drawing/2014/main" val="2650307936"/>
                    </a:ext>
                  </a:extLst>
                </a:gridCol>
                <a:gridCol w="6209066">
                  <a:extLst>
                    <a:ext uri="{9D8B030D-6E8A-4147-A177-3AD203B41FA5}">
                      <a16:colId xmlns:a16="http://schemas.microsoft.com/office/drawing/2014/main" val="4286264654"/>
                    </a:ext>
                  </a:extLst>
                </a:gridCol>
              </a:tblGrid>
              <a:tr h="406186">
                <a:tc rowSpan="3">
                  <a:txBody>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rPr>
                        <a:t>GitHub tutorials</a:t>
                      </a:r>
                      <a:endParaRPr lang="en-US" sz="1200" b="1" spc="0" dirty="0">
                        <a:solidFill>
                          <a:schemeClr val="tx1">
                            <a:lumMod val="50000"/>
                          </a:schemeClr>
                        </a:solidFill>
                        <a:latin typeface="Century Gothic" panose="020B0502020202020204" pitchFamily="34" charset="0"/>
                      </a:endParaRPr>
                    </a:p>
                  </a:txBody>
                  <a:tcPr anchor="ctr"/>
                </a:tc>
                <a:tc>
                  <a:txBody>
                    <a:bodyPr/>
                    <a:lstStyle/>
                    <a:p>
                      <a:pPr algn="l"/>
                      <a:r>
                        <a:rPr lang="en-US" sz="1000" b="1" spc="0" dirty="0">
                          <a:solidFill>
                            <a:schemeClr val="bg2">
                              <a:lumMod val="10000"/>
                            </a:schemeClr>
                          </a:solidFill>
                        </a:rPr>
                        <a:t>https://github.com/MicrosoftDocs/azure-ai-docs/tree/main/articles/ai-studio/how-to</a:t>
                      </a:r>
                      <a:endParaRPr lang="en-US" sz="1000" b="1" spc="0" dirty="0">
                        <a:solidFill>
                          <a:schemeClr val="bg2">
                            <a:lumMod val="10000"/>
                          </a:schemeClr>
                        </a:solidFill>
                        <a:latin typeface="Century Gothic" panose="020B0502020202020204" pitchFamily="34" charset="0"/>
                      </a:endParaRPr>
                    </a:p>
                  </a:txBody>
                  <a:tcPr marL="274320" anchor="ctr"/>
                </a:tc>
                <a:extLst>
                  <a:ext uri="{0D108BD9-81ED-4DB2-BD59-A6C34878D82A}">
                    <a16:rowId xmlns:a16="http://schemas.microsoft.com/office/drawing/2014/main" val="1960334357"/>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Open-source prompt flow: </a:t>
                      </a:r>
                      <a:r>
                        <a:rPr lang="en-US" sz="1000" dirty="0">
                          <a:ea typeface="+mn-lt"/>
                          <a:cs typeface="+mn-lt"/>
                          <a:hlinkClick r:id="rId3"/>
                        </a:rPr>
                        <a:t>https://github.com/microsoft/promptflow</a:t>
                      </a:r>
                      <a:r>
                        <a:rPr lang="en-US" sz="1000" dirty="0">
                          <a:ea typeface="+mn-lt"/>
                          <a:cs typeface="+mn-lt"/>
                        </a:rPr>
                        <a:t> </a:t>
                      </a:r>
                    </a:p>
                  </a:txBody>
                  <a:tcPr marL="274320" anchor="ctr"/>
                </a:tc>
                <a:extLst>
                  <a:ext uri="{0D108BD9-81ED-4DB2-BD59-A6C34878D82A}">
                    <a16:rowId xmlns:a16="http://schemas.microsoft.com/office/drawing/2014/main" val="2575160660"/>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a typeface="+mn-lt"/>
                          <a:cs typeface="+mn-lt"/>
                        </a:rPr>
                        <a:t>VS code prompt flow extension:  </a:t>
                      </a:r>
                      <a:r>
                        <a:rPr lang="en-US" sz="1000" dirty="0">
                          <a:hlinkClick r:id="rId4"/>
                        </a:rPr>
                        <a:t>Develop a </a:t>
                      </a:r>
                      <a:r>
                        <a:rPr lang="en-US" sz="1000" dirty="0" err="1">
                          <a:hlinkClick r:id="rId4"/>
                        </a:rPr>
                        <a:t>dag</a:t>
                      </a:r>
                      <a:r>
                        <a:rPr lang="en-US" sz="1000" dirty="0">
                          <a:hlinkClick r:id="rId4"/>
                        </a:rPr>
                        <a:t> flow — Prompt flow documentation (microsoft.github.io)</a:t>
                      </a:r>
                      <a:endParaRPr lang="en-US" sz="1000" dirty="0">
                        <a:ea typeface="+mn-lt"/>
                        <a:cs typeface="+mn-lt"/>
                      </a:endParaRPr>
                    </a:p>
                  </a:txBody>
                  <a:tcPr marL="274320" anchor="ctr"/>
                </a:tc>
                <a:extLst>
                  <a:ext uri="{0D108BD9-81ED-4DB2-BD59-A6C34878D82A}">
                    <a16:rowId xmlns:a16="http://schemas.microsoft.com/office/drawing/2014/main" val="1217524284"/>
                  </a:ext>
                </a:extLst>
              </a:tr>
            </a:tbl>
          </a:graphicData>
        </a:graphic>
      </p:graphicFrame>
      <p:sp>
        <p:nvSpPr>
          <p:cNvPr id="16" name="moving straight is what we do">
            <a:extLst>
              <a:ext uri="{FF2B5EF4-FFF2-40B4-BE49-F238E27FC236}">
                <a16:creationId xmlns:a16="http://schemas.microsoft.com/office/drawing/2014/main" id="{A038C721-496B-E34D-ACA8-C7201A641E9F}"/>
              </a:ext>
            </a:extLst>
          </p:cNvPr>
          <p:cNvSpPr txBox="1"/>
          <p:nvPr/>
        </p:nvSpPr>
        <p:spPr>
          <a:xfrm>
            <a:off x="770022" y="579396"/>
            <a:ext cx="458804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cap="none"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Resources</a:t>
            </a:r>
            <a:endParaRPr kumimoji="0" lang="en-US" sz="240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Tree>
    <p:extLst>
      <p:ext uri="{BB962C8B-B14F-4D97-AF65-F5344CB8AC3E}">
        <p14:creationId xmlns:p14="http://schemas.microsoft.com/office/powerpoint/2010/main" val="3306794554"/>
      </p:ext>
    </p:extLst>
  </p:cSld>
  <p:clrMapOvr>
    <a:masterClrMapping/>
  </p:clrMapOvr>
  <mc:AlternateContent xmlns:mc="http://schemas.openxmlformats.org/markup-compatibility/2006" xmlns:p14="http://schemas.microsoft.com/office/powerpoint/2010/main">
    <mc:Choice Requires="p14">
      <p:transition spd="slow" p14:dur="3000">
        <p:push/>
      </p:transition>
    </mc:Choice>
    <mc:Fallback xmlns="">
      <p:transition spd="slow">
        <p:push/>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ounded Rectangle 11">
            <a:extLst>
              <a:ext uri="{FF2B5EF4-FFF2-40B4-BE49-F238E27FC236}">
                <a16:creationId xmlns:a16="http://schemas.microsoft.com/office/drawing/2014/main" id="{72892C2F-A9DE-023E-3BA0-3713F29EC83D}"/>
              </a:ext>
            </a:extLst>
          </p:cNvPr>
          <p:cNvSpPr/>
          <p:nvPr/>
        </p:nvSpPr>
        <p:spPr>
          <a:xfrm>
            <a:off x="43707" y="5548320"/>
            <a:ext cx="1799029"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5" name="Rounded Rectangle 11">
            <a:extLst>
              <a:ext uri="{FF2B5EF4-FFF2-40B4-BE49-F238E27FC236}">
                <a16:creationId xmlns:a16="http://schemas.microsoft.com/office/drawing/2014/main" id="{56E849AA-8F14-B90E-E26F-F0D03F01F8D2}"/>
              </a:ext>
            </a:extLst>
          </p:cNvPr>
          <p:cNvSpPr/>
          <p:nvPr/>
        </p:nvSpPr>
        <p:spPr>
          <a:xfrm>
            <a:off x="46336" y="3636443"/>
            <a:ext cx="1868567"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6" name="Rounded Rectangle 11">
            <a:extLst>
              <a:ext uri="{FF2B5EF4-FFF2-40B4-BE49-F238E27FC236}">
                <a16:creationId xmlns:a16="http://schemas.microsoft.com/office/drawing/2014/main" id="{D7BCCD86-8B2E-CE1C-24EE-289EEAEB910B}"/>
              </a:ext>
            </a:extLst>
          </p:cNvPr>
          <p:cNvSpPr/>
          <p:nvPr/>
        </p:nvSpPr>
        <p:spPr>
          <a:xfrm>
            <a:off x="69529" y="1960972"/>
            <a:ext cx="1845375" cy="346234"/>
          </a:xfrm>
          <a:prstGeom prst="roundRect">
            <a:avLst>
              <a:gd name="adj" fmla="val 50000"/>
            </a:avLst>
          </a:prstGeom>
          <a:gradFill flip="none" rotWithShape="1">
            <a:gsLst>
              <a:gs pos="44000">
                <a:srgbClr val="999999">
                  <a:alpha val="29000"/>
                </a:srgbClr>
              </a:gs>
              <a:gs pos="0">
                <a:srgbClr val="E2E2E2">
                  <a:alpha val="31000"/>
                </a:srgbClr>
              </a:gs>
              <a:gs pos="94000">
                <a:srgbClr val="2D323D">
                  <a:alpha val="5000"/>
                </a:srgbClr>
              </a:gs>
            </a:gsLst>
            <a:lin ang="0" scaled="1"/>
            <a:tileRect/>
          </a:grad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77" name="Line 3">
            <a:extLst>
              <a:ext uri="{FF2B5EF4-FFF2-40B4-BE49-F238E27FC236}">
                <a16:creationId xmlns:a16="http://schemas.microsoft.com/office/drawing/2014/main" id="{37161470-D118-E61D-C08F-D8EBEF082D80}"/>
              </a:ext>
            </a:extLst>
          </p:cNvPr>
          <p:cNvSpPr>
            <a:spLocks noChangeShapeType="1"/>
          </p:cNvSpPr>
          <p:nvPr/>
        </p:nvSpPr>
        <p:spPr bwMode="auto">
          <a:xfrm flipV="1">
            <a:off x="1500464" y="2523562"/>
            <a:ext cx="1844"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8" name="Line 7">
            <a:extLst>
              <a:ext uri="{FF2B5EF4-FFF2-40B4-BE49-F238E27FC236}">
                <a16:creationId xmlns:a16="http://schemas.microsoft.com/office/drawing/2014/main" id="{78F7178B-21E2-E1CF-121F-CBE54C2C4EF4}"/>
              </a:ext>
            </a:extLst>
          </p:cNvPr>
          <p:cNvSpPr>
            <a:spLocks noChangeShapeType="1"/>
          </p:cNvSpPr>
          <p:nvPr/>
        </p:nvSpPr>
        <p:spPr bwMode="auto">
          <a:xfrm flipH="1" flipV="1">
            <a:off x="3528865" y="2530190"/>
            <a:ext cx="16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79" name="Line 11">
            <a:extLst>
              <a:ext uri="{FF2B5EF4-FFF2-40B4-BE49-F238E27FC236}">
                <a16:creationId xmlns:a16="http://schemas.microsoft.com/office/drawing/2014/main" id="{C896989D-F401-6B22-20A3-A8911DA23161}"/>
              </a:ext>
            </a:extLst>
          </p:cNvPr>
          <p:cNvSpPr>
            <a:spLocks noChangeShapeType="1"/>
          </p:cNvSpPr>
          <p:nvPr/>
        </p:nvSpPr>
        <p:spPr bwMode="auto">
          <a:xfrm flipH="1" flipV="1">
            <a:off x="5721076" y="2523559"/>
            <a:ext cx="1275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0" name="Line 15">
            <a:extLst>
              <a:ext uri="{FF2B5EF4-FFF2-40B4-BE49-F238E27FC236}">
                <a16:creationId xmlns:a16="http://schemas.microsoft.com/office/drawing/2014/main" id="{26819FD8-0BB7-EF2E-8F47-07643C3E5ACF}"/>
              </a:ext>
            </a:extLst>
          </p:cNvPr>
          <p:cNvSpPr>
            <a:spLocks noChangeShapeType="1"/>
          </p:cNvSpPr>
          <p:nvPr/>
        </p:nvSpPr>
        <p:spPr bwMode="auto">
          <a:xfrm flipH="1" flipV="1">
            <a:off x="7839604" y="2515434"/>
            <a:ext cx="3295" cy="4215566"/>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sp>
        <p:nvSpPr>
          <p:cNvPr id="181" name="Line 19">
            <a:extLst>
              <a:ext uri="{FF2B5EF4-FFF2-40B4-BE49-F238E27FC236}">
                <a16:creationId xmlns:a16="http://schemas.microsoft.com/office/drawing/2014/main" id="{29BA120E-C2E4-CF8E-B368-7A2A88E651D8}"/>
              </a:ext>
            </a:extLst>
          </p:cNvPr>
          <p:cNvSpPr>
            <a:spLocks noChangeShapeType="1"/>
          </p:cNvSpPr>
          <p:nvPr/>
        </p:nvSpPr>
        <p:spPr bwMode="auto">
          <a:xfrm flipV="1">
            <a:off x="10038367" y="2515434"/>
            <a:ext cx="23027" cy="4230322"/>
          </a:xfrm>
          <a:prstGeom prst="line">
            <a:avLst/>
          </a:prstGeom>
          <a:noFill/>
          <a:ln w="63500" cap="flat" cmpd="sng">
            <a:solidFill>
              <a:srgbClr val="60767B"/>
            </a:solid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defTabSz="457200" fontAlgn="base">
              <a:spcBef>
                <a:spcPct val="0"/>
              </a:spcBef>
              <a:spcAft>
                <a:spcPct val="0"/>
              </a:spcAft>
              <a:defRPr/>
            </a:pPr>
            <a:endParaRPr lang="x-none" altLang="x-none" sz="1600" kern="0">
              <a:solidFill>
                <a:sysClr val="windowText" lastClr="000000"/>
              </a:solidFill>
              <a:latin typeface="Roboto" panose="02000000000000000000" pitchFamily="2" charset="0"/>
              <a:ea typeface="Roboto" panose="02000000000000000000" pitchFamily="2" charset="0"/>
              <a:cs typeface="Roboto" panose="02000000000000000000" pitchFamily="2" charset="0"/>
              <a:sym typeface="Helvetica Light" charset="0"/>
            </a:endParaRPr>
          </a:p>
        </p:txBody>
      </p:sp>
      <p:grpSp>
        <p:nvGrpSpPr>
          <p:cNvPr id="182" name="Group 181">
            <a:extLst>
              <a:ext uri="{FF2B5EF4-FFF2-40B4-BE49-F238E27FC236}">
                <a16:creationId xmlns:a16="http://schemas.microsoft.com/office/drawing/2014/main" id="{45A84852-EFC3-A9B2-758F-65DCC0709B1A}"/>
              </a:ext>
            </a:extLst>
          </p:cNvPr>
          <p:cNvGrpSpPr/>
          <p:nvPr/>
        </p:nvGrpSpPr>
        <p:grpSpPr>
          <a:xfrm>
            <a:off x="1072137" y="1670191"/>
            <a:ext cx="860341" cy="860342"/>
            <a:chOff x="9652000" y="4852292"/>
            <a:chExt cx="5080000" cy="5080001"/>
          </a:xfrm>
        </p:grpSpPr>
        <p:sp>
          <p:nvSpPr>
            <p:cNvPr id="183" name="Circle">
              <a:extLst>
                <a:ext uri="{FF2B5EF4-FFF2-40B4-BE49-F238E27FC236}">
                  <a16:creationId xmlns:a16="http://schemas.microsoft.com/office/drawing/2014/main" id="{CE204522-6401-FE3B-29C7-5FCD90CBECCE}"/>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4" name="Circle">
              <a:extLst>
                <a:ext uri="{FF2B5EF4-FFF2-40B4-BE49-F238E27FC236}">
                  <a16:creationId xmlns:a16="http://schemas.microsoft.com/office/drawing/2014/main" id="{D04A1312-7445-FF43-B125-E924CBF738F4}"/>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5" name="Circle">
              <a:extLst>
                <a:ext uri="{FF2B5EF4-FFF2-40B4-BE49-F238E27FC236}">
                  <a16:creationId xmlns:a16="http://schemas.microsoft.com/office/drawing/2014/main" id="{1F355644-9484-784A-9DB4-1EBFB15520FA}"/>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1</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86" name="Group 185">
            <a:extLst>
              <a:ext uri="{FF2B5EF4-FFF2-40B4-BE49-F238E27FC236}">
                <a16:creationId xmlns:a16="http://schemas.microsoft.com/office/drawing/2014/main" id="{BBCA6D59-0ACD-CB10-39D0-5B79ED663E35}"/>
              </a:ext>
            </a:extLst>
          </p:cNvPr>
          <p:cNvGrpSpPr/>
          <p:nvPr/>
        </p:nvGrpSpPr>
        <p:grpSpPr>
          <a:xfrm>
            <a:off x="3100999" y="1663565"/>
            <a:ext cx="860341" cy="860342"/>
            <a:chOff x="9652000" y="4852292"/>
            <a:chExt cx="5080000" cy="5080001"/>
          </a:xfrm>
        </p:grpSpPr>
        <p:sp>
          <p:nvSpPr>
            <p:cNvPr id="187" name="Circle">
              <a:extLst>
                <a:ext uri="{FF2B5EF4-FFF2-40B4-BE49-F238E27FC236}">
                  <a16:creationId xmlns:a16="http://schemas.microsoft.com/office/drawing/2014/main" id="{C63F8558-7CF7-4229-7680-6C288B71755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8" name="Circle">
              <a:extLst>
                <a:ext uri="{FF2B5EF4-FFF2-40B4-BE49-F238E27FC236}">
                  <a16:creationId xmlns:a16="http://schemas.microsoft.com/office/drawing/2014/main" id="{1BD01AFE-7CFA-F048-6626-FD64771C29E3}"/>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89" name="Circle">
              <a:extLst>
                <a:ext uri="{FF2B5EF4-FFF2-40B4-BE49-F238E27FC236}">
                  <a16:creationId xmlns:a16="http://schemas.microsoft.com/office/drawing/2014/main" id="{EE1E50D7-4AC5-E30E-67A8-5FAB7442075F}"/>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2</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0" name="Group 189">
            <a:extLst>
              <a:ext uri="{FF2B5EF4-FFF2-40B4-BE49-F238E27FC236}">
                <a16:creationId xmlns:a16="http://schemas.microsoft.com/office/drawing/2014/main" id="{5E278101-F5D1-2B49-36AB-2D71774E3BD8}"/>
              </a:ext>
            </a:extLst>
          </p:cNvPr>
          <p:cNvGrpSpPr/>
          <p:nvPr/>
        </p:nvGrpSpPr>
        <p:grpSpPr>
          <a:xfrm>
            <a:off x="5290112" y="1667809"/>
            <a:ext cx="860341" cy="860342"/>
            <a:chOff x="9652000" y="4852292"/>
            <a:chExt cx="5080000" cy="5080001"/>
          </a:xfrm>
        </p:grpSpPr>
        <p:sp>
          <p:nvSpPr>
            <p:cNvPr id="191" name="Circle">
              <a:extLst>
                <a:ext uri="{FF2B5EF4-FFF2-40B4-BE49-F238E27FC236}">
                  <a16:creationId xmlns:a16="http://schemas.microsoft.com/office/drawing/2014/main" id="{F95A4EFC-9845-4F28-55C4-62E6D7BBC17D}"/>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2" name="Circle">
              <a:extLst>
                <a:ext uri="{FF2B5EF4-FFF2-40B4-BE49-F238E27FC236}">
                  <a16:creationId xmlns:a16="http://schemas.microsoft.com/office/drawing/2014/main" id="{6E26B5E7-B8C7-A62D-A1B7-53F572E99CDE}"/>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3" name="Circle">
              <a:extLst>
                <a:ext uri="{FF2B5EF4-FFF2-40B4-BE49-F238E27FC236}">
                  <a16:creationId xmlns:a16="http://schemas.microsoft.com/office/drawing/2014/main" id="{474D206D-88D1-8D3A-C61D-1CAED1823401}"/>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3</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4" name="Group 193">
            <a:extLst>
              <a:ext uri="{FF2B5EF4-FFF2-40B4-BE49-F238E27FC236}">
                <a16:creationId xmlns:a16="http://schemas.microsoft.com/office/drawing/2014/main" id="{E7B65F31-4D1D-37C5-4053-41AD4B3EBC7B}"/>
              </a:ext>
            </a:extLst>
          </p:cNvPr>
          <p:cNvGrpSpPr/>
          <p:nvPr/>
        </p:nvGrpSpPr>
        <p:grpSpPr>
          <a:xfrm>
            <a:off x="7409433" y="1667809"/>
            <a:ext cx="860341" cy="860342"/>
            <a:chOff x="9652000" y="4852292"/>
            <a:chExt cx="5080000" cy="5080001"/>
          </a:xfrm>
        </p:grpSpPr>
        <p:sp>
          <p:nvSpPr>
            <p:cNvPr id="195" name="Circle">
              <a:extLst>
                <a:ext uri="{FF2B5EF4-FFF2-40B4-BE49-F238E27FC236}">
                  <a16:creationId xmlns:a16="http://schemas.microsoft.com/office/drawing/2014/main" id="{3F5F9380-AA60-6547-BD30-7B1136AE67C8}"/>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6" name="Circle">
              <a:extLst>
                <a:ext uri="{FF2B5EF4-FFF2-40B4-BE49-F238E27FC236}">
                  <a16:creationId xmlns:a16="http://schemas.microsoft.com/office/drawing/2014/main" id="{D1749577-0439-E56D-B93B-4DD218DB4321}"/>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197" name="Circle">
              <a:extLst>
                <a:ext uri="{FF2B5EF4-FFF2-40B4-BE49-F238E27FC236}">
                  <a16:creationId xmlns:a16="http://schemas.microsoft.com/office/drawing/2014/main" id="{0C1F5D97-2CF9-CD61-636F-E1CF9275371D}"/>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4</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198" name="Group 197">
            <a:extLst>
              <a:ext uri="{FF2B5EF4-FFF2-40B4-BE49-F238E27FC236}">
                <a16:creationId xmlns:a16="http://schemas.microsoft.com/office/drawing/2014/main" id="{4DB51B62-06A3-BBC8-89BB-71D1944EEDE6}"/>
              </a:ext>
            </a:extLst>
          </p:cNvPr>
          <p:cNvGrpSpPr/>
          <p:nvPr/>
        </p:nvGrpSpPr>
        <p:grpSpPr>
          <a:xfrm>
            <a:off x="9638857" y="1669695"/>
            <a:ext cx="860341" cy="860342"/>
            <a:chOff x="9652000" y="4852292"/>
            <a:chExt cx="5080000" cy="5080001"/>
          </a:xfrm>
        </p:grpSpPr>
        <p:sp>
          <p:nvSpPr>
            <p:cNvPr id="199" name="Circle">
              <a:extLst>
                <a:ext uri="{FF2B5EF4-FFF2-40B4-BE49-F238E27FC236}">
                  <a16:creationId xmlns:a16="http://schemas.microsoft.com/office/drawing/2014/main" id="{6CB0C4F8-7DAE-F994-DB18-0745A05EA747}"/>
                </a:ext>
              </a:extLst>
            </p:cNvPr>
            <p:cNvSpPr/>
            <p:nvPr/>
          </p:nvSpPr>
          <p:spPr>
            <a:xfrm>
              <a:off x="9652000" y="4852292"/>
              <a:ext cx="5080000" cy="5080001"/>
            </a:xfrm>
            <a:prstGeom prst="ellipse">
              <a:avLst/>
            </a:prstGeom>
            <a:solidFill>
              <a:srgbClr val="4C5B63"/>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0" name="Circle">
              <a:extLst>
                <a:ext uri="{FF2B5EF4-FFF2-40B4-BE49-F238E27FC236}">
                  <a16:creationId xmlns:a16="http://schemas.microsoft.com/office/drawing/2014/main" id="{15313858-55CC-E774-7648-ED7A55404DA0}"/>
                </a:ext>
              </a:extLst>
            </p:cNvPr>
            <p:cNvSpPr/>
            <p:nvPr/>
          </p:nvSpPr>
          <p:spPr>
            <a:xfrm>
              <a:off x="10298241" y="5487290"/>
              <a:ext cx="3810000" cy="3810001"/>
            </a:xfrm>
            <a:prstGeom prst="ellipse">
              <a:avLst/>
            </a:prstGeom>
            <a:solidFill>
              <a:srgbClr val="60767B"/>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endParaRPr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01" name="Circle">
              <a:extLst>
                <a:ext uri="{FF2B5EF4-FFF2-40B4-BE49-F238E27FC236}">
                  <a16:creationId xmlns:a16="http://schemas.microsoft.com/office/drawing/2014/main" id="{F32467CC-94E7-2F75-92B5-0D378AB776E6}"/>
                </a:ext>
              </a:extLst>
            </p:cNvPr>
            <p:cNvSpPr/>
            <p:nvPr/>
          </p:nvSpPr>
          <p:spPr>
            <a:xfrm>
              <a:off x="10922000" y="6129077"/>
              <a:ext cx="2540000" cy="2540001"/>
            </a:xfrm>
            <a:prstGeom prst="ellipse">
              <a:avLst/>
            </a:prstGeom>
            <a:solidFill>
              <a:srgbClr val="759195"/>
            </a:solidFill>
            <a:ln w="12700">
              <a:miter lim="400000"/>
            </a:ln>
          </p:spPr>
          <p:txBody>
            <a:bodyPr lIns="0" tIns="0" rIns="0" bIns="0" anchor="ctr"/>
            <a:lstStyle/>
            <a:p>
              <a:pPr algn="ctr" defTabSz="457200">
                <a:defRPr sz="3200" b="0">
                  <a:solidFill>
                    <a:srgbClr val="FFFFFF"/>
                  </a:solidFill>
                  <a:latin typeface="+mn-lt"/>
                  <a:ea typeface="+mn-ea"/>
                  <a:cs typeface="+mn-cs"/>
                  <a:sym typeface="Helvetica Neue Medium"/>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rPr>
                <a:t>5</a:t>
              </a:r>
              <a:endParaRPr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grpSp>
      <p:grpSp>
        <p:nvGrpSpPr>
          <p:cNvPr id="202" name="Group 201">
            <a:extLst>
              <a:ext uri="{FF2B5EF4-FFF2-40B4-BE49-F238E27FC236}">
                <a16:creationId xmlns:a16="http://schemas.microsoft.com/office/drawing/2014/main" id="{4341F9B2-7297-FFF2-1E6C-B4F45F677368}"/>
              </a:ext>
            </a:extLst>
          </p:cNvPr>
          <p:cNvGrpSpPr/>
          <p:nvPr/>
        </p:nvGrpSpPr>
        <p:grpSpPr>
          <a:xfrm>
            <a:off x="1444875" y="3161831"/>
            <a:ext cx="10651808" cy="103981"/>
            <a:chOff x="1816328" y="6547530"/>
            <a:chExt cx="21303615" cy="207962"/>
          </a:xfrm>
        </p:grpSpPr>
        <p:sp>
          <p:nvSpPr>
            <p:cNvPr id="203" name="Oval 23">
              <a:extLst>
                <a:ext uri="{FF2B5EF4-FFF2-40B4-BE49-F238E27FC236}">
                  <a16:creationId xmlns:a16="http://schemas.microsoft.com/office/drawing/2014/main" id="{B482611B-8F15-1764-CAE5-0E7FE24916F7}"/>
                </a:ext>
              </a:extLst>
            </p:cNvPr>
            <p:cNvSpPr>
              <a:spLocks/>
            </p:cNvSpPr>
            <p:nvPr/>
          </p:nvSpPr>
          <p:spPr bwMode="auto">
            <a:xfrm>
              <a:off x="2291198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4" name="Oval 24">
              <a:extLst>
                <a:ext uri="{FF2B5EF4-FFF2-40B4-BE49-F238E27FC236}">
                  <a16:creationId xmlns:a16="http://schemas.microsoft.com/office/drawing/2014/main" id="{8A66B3F5-12A1-8212-893E-B6E8F662DA8D}"/>
                </a:ext>
              </a:extLst>
            </p:cNvPr>
            <p:cNvSpPr>
              <a:spLocks/>
            </p:cNvSpPr>
            <p:nvPr/>
          </p:nvSpPr>
          <p:spPr bwMode="auto">
            <a:xfrm>
              <a:off x="24503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5" name="Oval 25">
              <a:extLst>
                <a:ext uri="{FF2B5EF4-FFF2-40B4-BE49-F238E27FC236}">
                  <a16:creationId xmlns:a16="http://schemas.microsoft.com/office/drawing/2014/main" id="{96D7C996-78AD-807E-1163-B62524F33A2E}"/>
                </a:ext>
              </a:extLst>
            </p:cNvPr>
            <p:cNvSpPr>
              <a:spLocks/>
            </p:cNvSpPr>
            <p:nvPr/>
          </p:nvSpPr>
          <p:spPr bwMode="auto">
            <a:xfrm>
              <a:off x="30726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6" name="Oval 26">
              <a:extLst>
                <a:ext uri="{FF2B5EF4-FFF2-40B4-BE49-F238E27FC236}">
                  <a16:creationId xmlns:a16="http://schemas.microsoft.com/office/drawing/2014/main" id="{D848AE1C-11FB-0370-CD7F-74ED583540D7}"/>
                </a:ext>
              </a:extLst>
            </p:cNvPr>
            <p:cNvSpPr>
              <a:spLocks/>
            </p:cNvSpPr>
            <p:nvPr/>
          </p:nvSpPr>
          <p:spPr bwMode="auto">
            <a:xfrm>
              <a:off x="36949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7" name="Oval 27">
              <a:extLst>
                <a:ext uri="{FF2B5EF4-FFF2-40B4-BE49-F238E27FC236}">
                  <a16:creationId xmlns:a16="http://schemas.microsoft.com/office/drawing/2014/main" id="{FCA44705-603B-ED2C-36F3-E0978A746FBD}"/>
                </a:ext>
              </a:extLst>
            </p:cNvPr>
            <p:cNvSpPr>
              <a:spLocks/>
            </p:cNvSpPr>
            <p:nvPr/>
          </p:nvSpPr>
          <p:spPr bwMode="auto">
            <a:xfrm>
              <a:off x="43172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8" name="Oval 28">
              <a:extLst>
                <a:ext uri="{FF2B5EF4-FFF2-40B4-BE49-F238E27FC236}">
                  <a16:creationId xmlns:a16="http://schemas.microsoft.com/office/drawing/2014/main" id="{FC3AD25E-A022-0907-C8DB-BFA8DF91AA5F}"/>
                </a:ext>
              </a:extLst>
            </p:cNvPr>
            <p:cNvSpPr>
              <a:spLocks/>
            </p:cNvSpPr>
            <p:nvPr/>
          </p:nvSpPr>
          <p:spPr bwMode="auto">
            <a:xfrm>
              <a:off x="49395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09" name="Oval 29">
              <a:extLst>
                <a:ext uri="{FF2B5EF4-FFF2-40B4-BE49-F238E27FC236}">
                  <a16:creationId xmlns:a16="http://schemas.microsoft.com/office/drawing/2014/main" id="{8C267A6F-F54A-4C52-9B27-23F8A8AF9D3E}"/>
                </a:ext>
              </a:extLst>
            </p:cNvPr>
            <p:cNvSpPr>
              <a:spLocks/>
            </p:cNvSpPr>
            <p:nvPr/>
          </p:nvSpPr>
          <p:spPr bwMode="auto">
            <a:xfrm>
              <a:off x="5561806"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0" name="Oval 30">
              <a:extLst>
                <a:ext uri="{FF2B5EF4-FFF2-40B4-BE49-F238E27FC236}">
                  <a16:creationId xmlns:a16="http://schemas.microsoft.com/office/drawing/2014/main" id="{DB24171F-6D0D-27F9-AFD5-4DB1DD497898}"/>
                </a:ext>
              </a:extLst>
            </p:cNvPr>
            <p:cNvSpPr>
              <a:spLocks/>
            </p:cNvSpPr>
            <p:nvPr/>
          </p:nvSpPr>
          <p:spPr bwMode="auto">
            <a:xfrm>
              <a:off x="6804633"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1" name="Oval 32">
              <a:extLst>
                <a:ext uri="{FF2B5EF4-FFF2-40B4-BE49-F238E27FC236}">
                  <a16:creationId xmlns:a16="http://schemas.microsoft.com/office/drawing/2014/main" id="{7D363470-C420-F917-8A2F-26DD0AFFA4A7}"/>
                </a:ext>
              </a:extLst>
            </p:cNvPr>
            <p:cNvSpPr>
              <a:spLocks/>
            </p:cNvSpPr>
            <p:nvPr/>
          </p:nvSpPr>
          <p:spPr bwMode="auto">
            <a:xfrm>
              <a:off x="7427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2" name="Oval 33">
              <a:extLst>
                <a:ext uri="{FF2B5EF4-FFF2-40B4-BE49-F238E27FC236}">
                  <a16:creationId xmlns:a16="http://schemas.microsoft.com/office/drawing/2014/main" id="{8FEE164E-375F-E29B-B9C4-E1F77EB3507E}"/>
                </a:ext>
              </a:extLst>
            </p:cNvPr>
            <p:cNvSpPr>
              <a:spLocks/>
            </p:cNvSpPr>
            <p:nvPr/>
          </p:nvSpPr>
          <p:spPr bwMode="auto">
            <a:xfrm>
              <a:off x="8049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3" name="Oval 34">
              <a:extLst>
                <a:ext uri="{FF2B5EF4-FFF2-40B4-BE49-F238E27FC236}">
                  <a16:creationId xmlns:a16="http://schemas.microsoft.com/office/drawing/2014/main" id="{8DEAB588-148C-0BDD-5F25-A298D793FFEF}"/>
                </a:ext>
              </a:extLst>
            </p:cNvPr>
            <p:cNvSpPr>
              <a:spLocks/>
            </p:cNvSpPr>
            <p:nvPr/>
          </p:nvSpPr>
          <p:spPr bwMode="auto">
            <a:xfrm>
              <a:off x="86717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4" name="Oval 35">
              <a:extLst>
                <a:ext uri="{FF2B5EF4-FFF2-40B4-BE49-F238E27FC236}">
                  <a16:creationId xmlns:a16="http://schemas.microsoft.com/office/drawing/2014/main" id="{D65293A2-A204-B43C-A79C-A3F60B9FC7DB}"/>
                </a:ext>
              </a:extLst>
            </p:cNvPr>
            <p:cNvSpPr>
              <a:spLocks/>
            </p:cNvSpPr>
            <p:nvPr/>
          </p:nvSpPr>
          <p:spPr bwMode="auto">
            <a:xfrm>
              <a:off x="9294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5" name="Oval 36">
              <a:extLst>
                <a:ext uri="{FF2B5EF4-FFF2-40B4-BE49-F238E27FC236}">
                  <a16:creationId xmlns:a16="http://schemas.microsoft.com/office/drawing/2014/main" id="{B0D9094B-A31A-E8BC-4D71-106778C1FE79}"/>
                </a:ext>
              </a:extLst>
            </p:cNvPr>
            <p:cNvSpPr>
              <a:spLocks/>
            </p:cNvSpPr>
            <p:nvPr/>
          </p:nvSpPr>
          <p:spPr bwMode="auto">
            <a:xfrm>
              <a:off x="9916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6" name="Oval 37">
              <a:extLst>
                <a:ext uri="{FF2B5EF4-FFF2-40B4-BE49-F238E27FC236}">
                  <a16:creationId xmlns:a16="http://schemas.microsoft.com/office/drawing/2014/main" id="{C205DBE8-6E21-0A0A-6CB2-7E617779A8B1}"/>
                </a:ext>
              </a:extLst>
            </p:cNvPr>
            <p:cNvSpPr>
              <a:spLocks/>
            </p:cNvSpPr>
            <p:nvPr/>
          </p:nvSpPr>
          <p:spPr bwMode="auto">
            <a:xfrm>
              <a:off x="11792757"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7" name="Oval 38">
              <a:extLst>
                <a:ext uri="{FF2B5EF4-FFF2-40B4-BE49-F238E27FC236}">
                  <a16:creationId xmlns:a16="http://schemas.microsoft.com/office/drawing/2014/main" id="{A13CB904-3D5E-4E9C-BBBA-7F83A6C6D395}"/>
                </a:ext>
              </a:extLst>
            </p:cNvPr>
            <p:cNvSpPr>
              <a:spLocks/>
            </p:cNvSpPr>
            <p:nvPr/>
          </p:nvSpPr>
          <p:spPr bwMode="auto">
            <a:xfrm>
              <a:off x="111609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8" name="Oval 40">
              <a:extLst>
                <a:ext uri="{FF2B5EF4-FFF2-40B4-BE49-F238E27FC236}">
                  <a16:creationId xmlns:a16="http://schemas.microsoft.com/office/drawing/2014/main" id="{98EEB93B-F1FA-1016-F9B6-2B529E90DAA9}"/>
                </a:ext>
              </a:extLst>
            </p:cNvPr>
            <p:cNvSpPr>
              <a:spLocks/>
            </p:cNvSpPr>
            <p:nvPr/>
          </p:nvSpPr>
          <p:spPr bwMode="auto">
            <a:xfrm>
              <a:off x="124055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19" name="Oval 41">
              <a:extLst>
                <a:ext uri="{FF2B5EF4-FFF2-40B4-BE49-F238E27FC236}">
                  <a16:creationId xmlns:a16="http://schemas.microsoft.com/office/drawing/2014/main" id="{D2B10554-18C5-9E65-D247-FE6A93D650E1}"/>
                </a:ext>
              </a:extLst>
            </p:cNvPr>
            <p:cNvSpPr>
              <a:spLocks/>
            </p:cNvSpPr>
            <p:nvPr/>
          </p:nvSpPr>
          <p:spPr bwMode="auto">
            <a:xfrm>
              <a:off x="130278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0" name="Oval 42">
              <a:extLst>
                <a:ext uri="{FF2B5EF4-FFF2-40B4-BE49-F238E27FC236}">
                  <a16:creationId xmlns:a16="http://schemas.microsoft.com/office/drawing/2014/main" id="{D0C4F46B-D197-1594-2367-FC30510D6097}"/>
                </a:ext>
              </a:extLst>
            </p:cNvPr>
            <p:cNvSpPr>
              <a:spLocks/>
            </p:cNvSpPr>
            <p:nvPr/>
          </p:nvSpPr>
          <p:spPr bwMode="auto">
            <a:xfrm>
              <a:off x="136501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1" name="Oval 43">
              <a:extLst>
                <a:ext uri="{FF2B5EF4-FFF2-40B4-BE49-F238E27FC236}">
                  <a16:creationId xmlns:a16="http://schemas.microsoft.com/office/drawing/2014/main" id="{4851CB15-A2E5-553C-FAC1-A1045747E5D4}"/>
                </a:ext>
              </a:extLst>
            </p:cNvPr>
            <p:cNvSpPr>
              <a:spLocks/>
            </p:cNvSpPr>
            <p:nvPr/>
          </p:nvSpPr>
          <p:spPr bwMode="auto">
            <a:xfrm>
              <a:off x="142724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2" name="Oval 44">
              <a:extLst>
                <a:ext uri="{FF2B5EF4-FFF2-40B4-BE49-F238E27FC236}">
                  <a16:creationId xmlns:a16="http://schemas.microsoft.com/office/drawing/2014/main" id="{15F415E0-0C29-B4EC-5615-A28986B84FDB}"/>
                </a:ext>
              </a:extLst>
            </p:cNvPr>
            <p:cNvSpPr>
              <a:spLocks/>
            </p:cNvSpPr>
            <p:nvPr/>
          </p:nvSpPr>
          <p:spPr bwMode="auto">
            <a:xfrm>
              <a:off x="1674534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3" name="Oval 45">
              <a:extLst>
                <a:ext uri="{FF2B5EF4-FFF2-40B4-BE49-F238E27FC236}">
                  <a16:creationId xmlns:a16="http://schemas.microsoft.com/office/drawing/2014/main" id="{6AD8E6D0-A6E9-A7B7-5101-17AA761BAF9E}"/>
                </a:ext>
              </a:extLst>
            </p:cNvPr>
            <p:cNvSpPr>
              <a:spLocks/>
            </p:cNvSpPr>
            <p:nvPr/>
          </p:nvSpPr>
          <p:spPr bwMode="auto">
            <a:xfrm>
              <a:off x="155170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4" name="Oval 46">
              <a:extLst>
                <a:ext uri="{FF2B5EF4-FFF2-40B4-BE49-F238E27FC236}">
                  <a16:creationId xmlns:a16="http://schemas.microsoft.com/office/drawing/2014/main" id="{9BCF46D9-34DD-5453-3DBC-28D4BEF672BC}"/>
                </a:ext>
              </a:extLst>
            </p:cNvPr>
            <p:cNvSpPr>
              <a:spLocks/>
            </p:cNvSpPr>
            <p:nvPr/>
          </p:nvSpPr>
          <p:spPr bwMode="auto">
            <a:xfrm>
              <a:off x="16139318"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5" name="Oval 48">
              <a:extLst>
                <a:ext uri="{FF2B5EF4-FFF2-40B4-BE49-F238E27FC236}">
                  <a16:creationId xmlns:a16="http://schemas.microsoft.com/office/drawing/2014/main" id="{C546B517-FCEB-9AEA-26CF-29E0500CD454}"/>
                </a:ext>
              </a:extLst>
            </p:cNvPr>
            <p:cNvSpPr>
              <a:spLocks/>
            </p:cNvSpPr>
            <p:nvPr/>
          </p:nvSpPr>
          <p:spPr bwMode="auto">
            <a:xfrm>
              <a:off x="173823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6" name="Oval 49">
              <a:extLst>
                <a:ext uri="{FF2B5EF4-FFF2-40B4-BE49-F238E27FC236}">
                  <a16:creationId xmlns:a16="http://schemas.microsoft.com/office/drawing/2014/main" id="{8E961C7A-9264-8A6E-2342-7CF8B3FBC635}"/>
                </a:ext>
              </a:extLst>
            </p:cNvPr>
            <p:cNvSpPr>
              <a:spLocks/>
            </p:cNvSpPr>
            <p:nvPr/>
          </p:nvSpPr>
          <p:spPr bwMode="auto">
            <a:xfrm>
              <a:off x="180046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7" name="Oval 50">
              <a:extLst>
                <a:ext uri="{FF2B5EF4-FFF2-40B4-BE49-F238E27FC236}">
                  <a16:creationId xmlns:a16="http://schemas.microsoft.com/office/drawing/2014/main" id="{38F538C5-471E-99A3-CD99-443053433A56}"/>
                </a:ext>
              </a:extLst>
            </p:cNvPr>
            <p:cNvSpPr>
              <a:spLocks/>
            </p:cNvSpPr>
            <p:nvPr/>
          </p:nvSpPr>
          <p:spPr bwMode="auto">
            <a:xfrm>
              <a:off x="186269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8" name="Oval 51">
              <a:extLst>
                <a:ext uri="{FF2B5EF4-FFF2-40B4-BE49-F238E27FC236}">
                  <a16:creationId xmlns:a16="http://schemas.microsoft.com/office/drawing/2014/main" id="{F101B6FA-9B0C-24EC-D551-045B1B8D4530}"/>
                </a:ext>
              </a:extLst>
            </p:cNvPr>
            <p:cNvSpPr>
              <a:spLocks/>
            </p:cNvSpPr>
            <p:nvPr/>
          </p:nvSpPr>
          <p:spPr bwMode="auto">
            <a:xfrm>
              <a:off x="21730552"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29" name="Oval 52">
              <a:extLst>
                <a:ext uri="{FF2B5EF4-FFF2-40B4-BE49-F238E27FC236}">
                  <a16:creationId xmlns:a16="http://schemas.microsoft.com/office/drawing/2014/main" id="{D70274A9-435C-92F9-A206-D56328B81825}"/>
                </a:ext>
              </a:extLst>
            </p:cNvPr>
            <p:cNvSpPr>
              <a:spLocks/>
            </p:cNvSpPr>
            <p:nvPr/>
          </p:nvSpPr>
          <p:spPr bwMode="auto">
            <a:xfrm>
              <a:off x="198715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0" name="Oval 53">
              <a:extLst>
                <a:ext uri="{FF2B5EF4-FFF2-40B4-BE49-F238E27FC236}">
                  <a16:creationId xmlns:a16="http://schemas.microsoft.com/office/drawing/2014/main" id="{44FC6758-400E-4349-0AA9-BC3F7FFC5376}"/>
                </a:ext>
              </a:extLst>
            </p:cNvPr>
            <p:cNvSpPr>
              <a:spLocks/>
            </p:cNvSpPr>
            <p:nvPr/>
          </p:nvSpPr>
          <p:spPr bwMode="auto">
            <a:xfrm>
              <a:off x="204938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1" name="Oval 55">
              <a:extLst>
                <a:ext uri="{FF2B5EF4-FFF2-40B4-BE49-F238E27FC236}">
                  <a16:creationId xmlns:a16="http://schemas.microsoft.com/office/drawing/2014/main" id="{8126B01E-AB6F-7D9C-32E0-9D2A6F04FB94}"/>
                </a:ext>
              </a:extLst>
            </p:cNvPr>
            <p:cNvSpPr>
              <a:spLocks/>
            </p:cNvSpPr>
            <p:nvPr/>
          </p:nvSpPr>
          <p:spPr bwMode="auto">
            <a:xfrm>
              <a:off x="211161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2" name="Oval 57">
              <a:extLst>
                <a:ext uri="{FF2B5EF4-FFF2-40B4-BE49-F238E27FC236}">
                  <a16:creationId xmlns:a16="http://schemas.microsoft.com/office/drawing/2014/main" id="{DD5C4FC6-B0BA-240F-6E01-42A81969402F}"/>
                </a:ext>
              </a:extLst>
            </p:cNvPr>
            <p:cNvSpPr>
              <a:spLocks/>
            </p:cNvSpPr>
            <p:nvPr/>
          </p:nvSpPr>
          <p:spPr bwMode="auto">
            <a:xfrm>
              <a:off x="22360731"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3" name="Oval 24">
              <a:extLst>
                <a:ext uri="{FF2B5EF4-FFF2-40B4-BE49-F238E27FC236}">
                  <a16:creationId xmlns:a16="http://schemas.microsoft.com/office/drawing/2014/main" id="{1B1C9B52-5CC1-1EF0-6D0F-687CAD534059}"/>
                </a:ext>
              </a:extLst>
            </p:cNvPr>
            <p:cNvSpPr>
              <a:spLocks/>
            </p:cNvSpPr>
            <p:nvPr/>
          </p:nvSpPr>
          <p:spPr bwMode="auto">
            <a:xfrm>
              <a:off x="181632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4" name="Oval 29">
              <a:extLst>
                <a:ext uri="{FF2B5EF4-FFF2-40B4-BE49-F238E27FC236}">
                  <a16:creationId xmlns:a16="http://schemas.microsoft.com/office/drawing/2014/main" id="{E97050C8-6C88-8995-DFBE-54107B998B14}"/>
                </a:ext>
              </a:extLst>
            </p:cNvPr>
            <p:cNvSpPr>
              <a:spLocks/>
            </p:cNvSpPr>
            <p:nvPr/>
          </p:nvSpPr>
          <p:spPr bwMode="auto">
            <a:xfrm>
              <a:off x="6184105"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5" name="Oval 38">
              <a:extLst>
                <a:ext uri="{FF2B5EF4-FFF2-40B4-BE49-F238E27FC236}">
                  <a16:creationId xmlns:a16="http://schemas.microsoft.com/office/drawing/2014/main" id="{2494C6D4-66EF-0C3B-FC54-FB84EFD4B52A}"/>
                </a:ext>
              </a:extLst>
            </p:cNvPr>
            <p:cNvSpPr>
              <a:spLocks/>
            </p:cNvSpPr>
            <p:nvPr/>
          </p:nvSpPr>
          <p:spPr bwMode="auto">
            <a:xfrm>
              <a:off x="10537711"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6" name="Oval 45">
              <a:extLst>
                <a:ext uri="{FF2B5EF4-FFF2-40B4-BE49-F238E27FC236}">
                  <a16:creationId xmlns:a16="http://schemas.microsoft.com/office/drawing/2014/main" id="{7CBBB5FB-0B79-7E63-67CE-35D2BD0B6CB8}"/>
                </a:ext>
              </a:extLst>
            </p:cNvPr>
            <p:cNvSpPr>
              <a:spLocks/>
            </p:cNvSpPr>
            <p:nvPr/>
          </p:nvSpPr>
          <p:spPr bwMode="auto">
            <a:xfrm>
              <a:off x="14907583" y="6547530"/>
              <a:ext cx="207963"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37" name="Oval 50">
              <a:extLst>
                <a:ext uri="{FF2B5EF4-FFF2-40B4-BE49-F238E27FC236}">
                  <a16:creationId xmlns:a16="http://schemas.microsoft.com/office/drawing/2014/main" id="{E68865B7-C0C7-75B6-30BB-AB4A54C72148}"/>
                </a:ext>
              </a:extLst>
            </p:cNvPr>
            <p:cNvSpPr>
              <a:spLocks/>
            </p:cNvSpPr>
            <p:nvPr/>
          </p:nvSpPr>
          <p:spPr bwMode="auto">
            <a:xfrm>
              <a:off x="19289938" y="6547530"/>
              <a:ext cx="207962" cy="207962"/>
            </a:xfrm>
            <a:prstGeom prst="ellipse">
              <a:avLst/>
            </a:prstGeom>
            <a:solidFill>
              <a:srgbClr val="4C5B63"/>
            </a:solidFill>
            <a:ln w="101600" cap="flat" cmpd="sng">
              <a:noFill/>
              <a:prstDash val="solid"/>
              <a:miter lim="400000"/>
              <a:headEnd type="none" w="med" len="med"/>
              <a:tailEnd type="none" w="med" len="med"/>
            </a:ln>
            <a:effectLst>
              <a:glow rad="215900">
                <a:srgbClr val="4C5B63">
                  <a:alpha val="40000"/>
                </a:srgbClr>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38" name="TextBox 237">
            <a:extLst>
              <a:ext uri="{FF2B5EF4-FFF2-40B4-BE49-F238E27FC236}">
                <a16:creationId xmlns:a16="http://schemas.microsoft.com/office/drawing/2014/main" id="{D17E67FC-48C4-BEE9-E9D5-24EB1FD4219F}"/>
              </a:ext>
            </a:extLst>
          </p:cNvPr>
          <p:cNvSpPr txBox="1"/>
          <p:nvPr/>
        </p:nvSpPr>
        <p:spPr>
          <a:xfrm>
            <a:off x="1519351" y="2629542"/>
            <a:ext cx="222438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NLP/U &amp; PLU tasks</a:t>
            </a:r>
          </a:p>
        </p:txBody>
      </p:sp>
      <p:sp>
        <p:nvSpPr>
          <p:cNvPr id="240" name="TextBox 239">
            <a:extLst>
              <a:ext uri="{FF2B5EF4-FFF2-40B4-BE49-F238E27FC236}">
                <a16:creationId xmlns:a16="http://schemas.microsoft.com/office/drawing/2014/main" id="{E297E280-EFE0-06DF-6984-40F83D09DEAE}"/>
              </a:ext>
            </a:extLst>
          </p:cNvPr>
          <p:cNvSpPr txBox="1"/>
          <p:nvPr/>
        </p:nvSpPr>
        <p:spPr>
          <a:xfrm>
            <a:off x="1521373" y="3448051"/>
            <a:ext cx="2039412" cy="171329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Entity resolution ; Sentiment analysis;  Completion ; text summarization; structured data extraction </a:t>
            </a:r>
          </a:p>
          <a:p>
            <a:pPr marL="142875" indent="-142875" defTabSz="457200">
              <a:lnSpc>
                <a:spcPct val="15000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ode completion; Functional business rules extraction from code; Business rules classification;  Business rules standardization (e.g. SBVR) </a:t>
            </a:r>
          </a:p>
        </p:txBody>
      </p:sp>
      <p:grpSp>
        <p:nvGrpSpPr>
          <p:cNvPr id="242" name="Group 241">
            <a:extLst>
              <a:ext uri="{FF2B5EF4-FFF2-40B4-BE49-F238E27FC236}">
                <a16:creationId xmlns:a16="http://schemas.microsoft.com/office/drawing/2014/main" id="{5906279C-602F-08F3-6A5A-1C9D362D8A85}"/>
              </a:ext>
            </a:extLst>
          </p:cNvPr>
          <p:cNvGrpSpPr/>
          <p:nvPr/>
        </p:nvGrpSpPr>
        <p:grpSpPr>
          <a:xfrm>
            <a:off x="3476180" y="4458639"/>
            <a:ext cx="107823" cy="723306"/>
            <a:chOff x="1827208" y="9806233"/>
            <a:chExt cx="215645" cy="1446611"/>
          </a:xfrm>
        </p:grpSpPr>
        <p:sp>
          <p:nvSpPr>
            <p:cNvPr id="243" name="Oval 54">
              <a:extLst>
                <a:ext uri="{FF2B5EF4-FFF2-40B4-BE49-F238E27FC236}">
                  <a16:creationId xmlns:a16="http://schemas.microsoft.com/office/drawing/2014/main" id="{79E704A4-E530-8E2B-3A37-FED77686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4" name="Oval 54">
              <a:extLst>
                <a:ext uri="{FF2B5EF4-FFF2-40B4-BE49-F238E27FC236}">
                  <a16:creationId xmlns:a16="http://schemas.microsoft.com/office/drawing/2014/main" id="{61A459E6-FE84-5756-833F-47A5379B8300}"/>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5" name="Oval 54">
              <a:extLst>
                <a:ext uri="{FF2B5EF4-FFF2-40B4-BE49-F238E27FC236}">
                  <a16:creationId xmlns:a16="http://schemas.microsoft.com/office/drawing/2014/main" id="{71884D26-83CD-C656-9BED-B78F61403071}"/>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6" name="Oval 54">
              <a:extLst>
                <a:ext uri="{FF2B5EF4-FFF2-40B4-BE49-F238E27FC236}">
                  <a16:creationId xmlns:a16="http://schemas.microsoft.com/office/drawing/2014/main" id="{F65A15DD-8BDD-18C1-EB44-302059AE9904}"/>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47" name="Group 246">
            <a:extLst>
              <a:ext uri="{FF2B5EF4-FFF2-40B4-BE49-F238E27FC236}">
                <a16:creationId xmlns:a16="http://schemas.microsoft.com/office/drawing/2014/main" id="{8F2EE911-DCCC-508A-779D-0752058178D8}"/>
              </a:ext>
            </a:extLst>
          </p:cNvPr>
          <p:cNvGrpSpPr/>
          <p:nvPr/>
        </p:nvGrpSpPr>
        <p:grpSpPr>
          <a:xfrm>
            <a:off x="5667435" y="4465265"/>
            <a:ext cx="107823" cy="723306"/>
            <a:chOff x="1827208" y="9806233"/>
            <a:chExt cx="215645" cy="1446611"/>
          </a:xfrm>
        </p:grpSpPr>
        <p:sp>
          <p:nvSpPr>
            <p:cNvPr id="248" name="Oval 54">
              <a:extLst>
                <a:ext uri="{FF2B5EF4-FFF2-40B4-BE49-F238E27FC236}">
                  <a16:creationId xmlns:a16="http://schemas.microsoft.com/office/drawing/2014/main" id="{FAE0AB58-7053-E133-A39B-275F2EC4CAB9}"/>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49" name="Oval 54">
              <a:extLst>
                <a:ext uri="{FF2B5EF4-FFF2-40B4-BE49-F238E27FC236}">
                  <a16:creationId xmlns:a16="http://schemas.microsoft.com/office/drawing/2014/main" id="{4BB46382-419B-04B7-9589-B7157B482E67}"/>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0" name="Oval 54">
              <a:extLst>
                <a:ext uri="{FF2B5EF4-FFF2-40B4-BE49-F238E27FC236}">
                  <a16:creationId xmlns:a16="http://schemas.microsoft.com/office/drawing/2014/main" id="{CDEEE055-AF97-AA05-9C88-7369E85B2E7F}"/>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1" name="Oval 54">
              <a:extLst>
                <a:ext uri="{FF2B5EF4-FFF2-40B4-BE49-F238E27FC236}">
                  <a16:creationId xmlns:a16="http://schemas.microsoft.com/office/drawing/2014/main" id="{5178CDA8-C82A-8208-1BCF-C7F616EC347E}"/>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2" name="Group 251">
            <a:extLst>
              <a:ext uri="{FF2B5EF4-FFF2-40B4-BE49-F238E27FC236}">
                <a16:creationId xmlns:a16="http://schemas.microsoft.com/office/drawing/2014/main" id="{7D30D4B1-EECE-F353-2B60-F5C7A9B5768D}"/>
              </a:ext>
            </a:extLst>
          </p:cNvPr>
          <p:cNvGrpSpPr/>
          <p:nvPr/>
        </p:nvGrpSpPr>
        <p:grpSpPr>
          <a:xfrm>
            <a:off x="7786611" y="4465265"/>
            <a:ext cx="107823" cy="723306"/>
            <a:chOff x="1827208" y="9806233"/>
            <a:chExt cx="215645" cy="1446611"/>
          </a:xfrm>
        </p:grpSpPr>
        <p:sp>
          <p:nvSpPr>
            <p:cNvPr id="253" name="Oval 54">
              <a:extLst>
                <a:ext uri="{FF2B5EF4-FFF2-40B4-BE49-F238E27FC236}">
                  <a16:creationId xmlns:a16="http://schemas.microsoft.com/office/drawing/2014/main" id="{B5F988E8-71A8-E54B-26FD-0011F6109D7E}"/>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4" name="Oval 54">
              <a:extLst>
                <a:ext uri="{FF2B5EF4-FFF2-40B4-BE49-F238E27FC236}">
                  <a16:creationId xmlns:a16="http://schemas.microsoft.com/office/drawing/2014/main" id="{7942452D-269A-8331-3495-140D5D6295E3}"/>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5" name="Oval 54">
              <a:extLst>
                <a:ext uri="{FF2B5EF4-FFF2-40B4-BE49-F238E27FC236}">
                  <a16:creationId xmlns:a16="http://schemas.microsoft.com/office/drawing/2014/main" id="{E2B2B227-5759-CFEA-4E7C-D227C6A19E8E}"/>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6" name="Oval 54">
              <a:extLst>
                <a:ext uri="{FF2B5EF4-FFF2-40B4-BE49-F238E27FC236}">
                  <a16:creationId xmlns:a16="http://schemas.microsoft.com/office/drawing/2014/main" id="{66F831BB-DF18-D61E-F080-64FF4E6D533D}"/>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grpSp>
        <p:nvGrpSpPr>
          <p:cNvPr id="257" name="Group 256">
            <a:extLst>
              <a:ext uri="{FF2B5EF4-FFF2-40B4-BE49-F238E27FC236}">
                <a16:creationId xmlns:a16="http://schemas.microsoft.com/office/drawing/2014/main" id="{053476D5-14ED-4B1C-4748-D58F184AFCCB}"/>
              </a:ext>
            </a:extLst>
          </p:cNvPr>
          <p:cNvGrpSpPr/>
          <p:nvPr/>
        </p:nvGrpSpPr>
        <p:grpSpPr>
          <a:xfrm>
            <a:off x="10009977" y="4465265"/>
            <a:ext cx="107823" cy="723306"/>
            <a:chOff x="1827208" y="9806233"/>
            <a:chExt cx="215645" cy="1446611"/>
          </a:xfrm>
        </p:grpSpPr>
        <p:sp>
          <p:nvSpPr>
            <p:cNvPr id="258" name="Oval 54">
              <a:extLst>
                <a:ext uri="{FF2B5EF4-FFF2-40B4-BE49-F238E27FC236}">
                  <a16:creationId xmlns:a16="http://schemas.microsoft.com/office/drawing/2014/main" id="{7E57DD7C-16F3-6808-C1D8-7008A6A40550}"/>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59" name="Oval 54">
              <a:extLst>
                <a:ext uri="{FF2B5EF4-FFF2-40B4-BE49-F238E27FC236}">
                  <a16:creationId xmlns:a16="http://schemas.microsoft.com/office/drawing/2014/main" id="{5E38D9CD-9AE3-94B9-E3F1-5B3740DDAE96}"/>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0" name="Oval 54">
              <a:extLst>
                <a:ext uri="{FF2B5EF4-FFF2-40B4-BE49-F238E27FC236}">
                  <a16:creationId xmlns:a16="http://schemas.microsoft.com/office/drawing/2014/main" id="{D271A203-6D03-7245-744E-3D3DEBE652DA}"/>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61" name="Oval 54">
              <a:extLst>
                <a:ext uri="{FF2B5EF4-FFF2-40B4-BE49-F238E27FC236}">
                  <a16:creationId xmlns:a16="http://schemas.microsoft.com/office/drawing/2014/main" id="{0E5DC8D1-C568-9ED4-6B66-635B2B2456D1}"/>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62" name="TextBox 261">
            <a:extLst>
              <a:ext uri="{FF2B5EF4-FFF2-40B4-BE49-F238E27FC236}">
                <a16:creationId xmlns:a16="http://schemas.microsoft.com/office/drawing/2014/main" id="{914E47A6-1995-80DC-5793-7559A7A6D65E}"/>
              </a:ext>
            </a:extLst>
          </p:cNvPr>
          <p:cNvSpPr txBox="1"/>
          <p:nvPr/>
        </p:nvSpPr>
        <p:spPr>
          <a:xfrm>
            <a:off x="82297" y="305824"/>
            <a:ext cx="11612747" cy="46166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0" lvl="1" algn="ctr" defTabSz="457200">
              <a:lnSpc>
                <a:spcPts val="3150"/>
              </a:lnSpc>
              <a:defRPr/>
            </a:pP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nvisioned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cenario</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shapes the application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rchitecture</a:t>
            </a:r>
          </a:p>
        </p:txBody>
      </p:sp>
      <p:sp>
        <p:nvSpPr>
          <p:cNvPr id="263" name="TextBox 262">
            <a:extLst>
              <a:ext uri="{FF2B5EF4-FFF2-40B4-BE49-F238E27FC236}">
                <a16:creationId xmlns:a16="http://schemas.microsoft.com/office/drawing/2014/main" id="{DD8BAD98-AD39-7220-3928-F231733E0CBC}"/>
              </a:ext>
            </a:extLst>
          </p:cNvPr>
          <p:cNvSpPr txBox="1"/>
          <p:nvPr/>
        </p:nvSpPr>
        <p:spPr>
          <a:xfrm>
            <a:off x="257058" y="1982932"/>
            <a:ext cx="902508"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cenario</a:t>
            </a:r>
          </a:p>
        </p:txBody>
      </p:sp>
      <p:sp>
        <p:nvSpPr>
          <p:cNvPr id="264" name="TextBox 263">
            <a:extLst>
              <a:ext uri="{FF2B5EF4-FFF2-40B4-BE49-F238E27FC236}">
                <a16:creationId xmlns:a16="http://schemas.microsoft.com/office/drawing/2014/main" id="{9ADFF251-21F5-2358-CC94-29CEA39860BC}"/>
              </a:ext>
            </a:extLst>
          </p:cNvPr>
          <p:cNvSpPr txBox="1"/>
          <p:nvPr/>
        </p:nvSpPr>
        <p:spPr>
          <a:xfrm>
            <a:off x="233865" y="3658403"/>
            <a:ext cx="126574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Examples</a:t>
            </a:r>
          </a:p>
        </p:txBody>
      </p:sp>
      <p:sp>
        <p:nvSpPr>
          <p:cNvPr id="265" name="TextBox 264">
            <a:extLst>
              <a:ext uri="{FF2B5EF4-FFF2-40B4-BE49-F238E27FC236}">
                <a16:creationId xmlns:a16="http://schemas.microsoft.com/office/drawing/2014/main" id="{A09B1205-E254-1E8D-6950-72286D8B31BE}"/>
              </a:ext>
            </a:extLst>
          </p:cNvPr>
          <p:cNvSpPr txBox="1"/>
          <p:nvPr/>
        </p:nvSpPr>
        <p:spPr>
          <a:xfrm>
            <a:off x="151724" y="5543682"/>
            <a:ext cx="1317620" cy="35907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algn="ctr" defTabSz="457200">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rchitectural Design Consideration</a:t>
            </a:r>
          </a:p>
        </p:txBody>
      </p:sp>
      <p:sp>
        <p:nvSpPr>
          <p:cNvPr id="266" name="TextBox 265">
            <a:extLst>
              <a:ext uri="{FF2B5EF4-FFF2-40B4-BE49-F238E27FC236}">
                <a16:creationId xmlns:a16="http://schemas.microsoft.com/office/drawing/2014/main" id="{088BD4B6-0759-9C0B-D81B-BE6B8AD78FF0}"/>
              </a:ext>
            </a:extLst>
          </p:cNvPr>
          <p:cNvSpPr txBox="1"/>
          <p:nvPr/>
        </p:nvSpPr>
        <p:spPr>
          <a:xfrm>
            <a:off x="1532047" y="5581280"/>
            <a:ext cx="1929141"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unction callin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data pipelines.</a:t>
            </a:r>
          </a:p>
        </p:txBody>
      </p:sp>
      <p:sp>
        <p:nvSpPr>
          <p:cNvPr id="268" name="TextBox 267">
            <a:extLst>
              <a:ext uri="{FF2B5EF4-FFF2-40B4-BE49-F238E27FC236}">
                <a16:creationId xmlns:a16="http://schemas.microsoft.com/office/drawing/2014/main" id="{C0C1003C-E018-BD50-D1E1-A2EBAE96883C}"/>
              </a:ext>
            </a:extLst>
          </p:cNvPr>
          <p:cNvSpPr txBox="1"/>
          <p:nvPr/>
        </p:nvSpPr>
        <p:spPr>
          <a:xfrm>
            <a:off x="7926102" y="2643291"/>
            <a:ext cx="219045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s </a:t>
            </a:r>
          </a:p>
        </p:txBody>
      </p:sp>
      <p:sp>
        <p:nvSpPr>
          <p:cNvPr id="269" name="TextBox 268">
            <a:extLst>
              <a:ext uri="{FF2B5EF4-FFF2-40B4-BE49-F238E27FC236}">
                <a16:creationId xmlns:a16="http://schemas.microsoft.com/office/drawing/2014/main" id="{CD5E9814-FC44-F3AD-ABC8-08CA7C9F224D}"/>
              </a:ext>
            </a:extLst>
          </p:cNvPr>
          <p:cNvSpPr txBox="1"/>
          <p:nvPr/>
        </p:nvSpPr>
        <p:spPr>
          <a:xfrm>
            <a:off x="7904174" y="3505909"/>
            <a:ext cx="2076761" cy="1577355"/>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 embedded in enterprise software or SaaS applications such as GitHub Copilot, Copilot for Microsoft 365, etc.</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ype II embedded in existing apps such those supporting specific business or IT flow       </a:t>
            </a:r>
          </a:p>
        </p:txBody>
      </p:sp>
      <p:sp>
        <p:nvSpPr>
          <p:cNvPr id="272" name="TextBox 271">
            <a:extLst>
              <a:ext uri="{FF2B5EF4-FFF2-40B4-BE49-F238E27FC236}">
                <a16:creationId xmlns:a16="http://schemas.microsoft.com/office/drawing/2014/main" id="{AE788CD8-1010-39B3-D565-BCA694FA0512}"/>
              </a:ext>
            </a:extLst>
          </p:cNvPr>
          <p:cNvSpPr txBox="1"/>
          <p:nvPr/>
        </p:nvSpPr>
        <p:spPr>
          <a:xfrm>
            <a:off x="10173986" y="2655507"/>
            <a:ext cx="1971631"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dirty="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a:t>
            </a:r>
          </a:p>
        </p:txBody>
      </p:sp>
      <p:sp>
        <p:nvSpPr>
          <p:cNvPr id="273" name="TextBox 272">
            <a:extLst>
              <a:ext uri="{FF2B5EF4-FFF2-40B4-BE49-F238E27FC236}">
                <a16:creationId xmlns:a16="http://schemas.microsoft.com/office/drawing/2014/main" id="{7D389437-2547-ACB7-D5D8-CFFE8EF0E0C2}"/>
              </a:ext>
            </a:extLst>
          </p:cNvPr>
          <p:cNvSpPr txBox="1"/>
          <p:nvPr/>
        </p:nvSpPr>
        <p:spPr>
          <a:xfrm>
            <a:off x="10071015" y="3391518"/>
            <a:ext cx="2083608" cy="223138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e LLM agents in a supply chain management system to analyze data, make predictions about demand and inventory need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clude LLM agents in a financial trading platform to analyze market trends and provide investment recommendations.</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utomation of a complex business or IT process. </a:t>
            </a:r>
          </a:p>
        </p:txBody>
      </p:sp>
      <p:sp>
        <p:nvSpPr>
          <p:cNvPr id="274" name="TextBox 273">
            <a:extLst>
              <a:ext uri="{FF2B5EF4-FFF2-40B4-BE49-F238E27FC236}">
                <a16:creationId xmlns:a16="http://schemas.microsoft.com/office/drawing/2014/main" id="{B4B3B982-3466-1471-ACD6-D29C77B83F10}"/>
              </a:ext>
            </a:extLst>
          </p:cNvPr>
          <p:cNvSpPr txBox="1"/>
          <p:nvPr/>
        </p:nvSpPr>
        <p:spPr>
          <a:xfrm>
            <a:off x="10059935" y="5631566"/>
            <a:ext cx="2086192"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and multi-agent design</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ugins</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Multi-Agents system </a:t>
            </a:r>
          </a:p>
        </p:txBody>
      </p:sp>
      <p:sp>
        <p:nvSpPr>
          <p:cNvPr id="275" name="Right Arrow 32">
            <a:extLst>
              <a:ext uri="{FF2B5EF4-FFF2-40B4-BE49-F238E27FC236}">
                <a16:creationId xmlns:a16="http://schemas.microsoft.com/office/drawing/2014/main" id="{165797A6-5025-D529-06EE-D0780F3B83CB}"/>
              </a:ext>
            </a:extLst>
          </p:cNvPr>
          <p:cNvSpPr/>
          <p:nvPr/>
        </p:nvSpPr>
        <p:spPr>
          <a:xfrm>
            <a:off x="292702" y="943340"/>
            <a:ext cx="11700000" cy="266344"/>
          </a:xfrm>
          <a:prstGeom prst="rightArrow">
            <a:avLst>
              <a:gd name="adj1" fmla="val 57984"/>
              <a:gd name="adj2" fmla="val 86642"/>
            </a:avLst>
          </a:prstGeom>
          <a:gradFill>
            <a:gsLst>
              <a:gs pos="47000">
                <a:srgbClr val="708A8F">
                  <a:alpha val="81000"/>
                </a:srgbClr>
              </a:gs>
              <a:gs pos="0">
                <a:srgbClr val="94B9BA">
                  <a:alpha val="83000"/>
                </a:srgbClr>
              </a:gs>
              <a:gs pos="100000">
                <a:srgbClr val="4C5B63">
                  <a:alpha val="57000"/>
                </a:srgb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276" name="TextBox 275">
            <a:extLst>
              <a:ext uri="{FF2B5EF4-FFF2-40B4-BE49-F238E27FC236}">
                <a16:creationId xmlns:a16="http://schemas.microsoft.com/office/drawing/2014/main" id="{0244D339-0712-8853-2D5E-31AD2FB7509F}"/>
              </a:ext>
            </a:extLst>
          </p:cNvPr>
          <p:cNvSpPr txBox="1"/>
          <p:nvPr/>
        </p:nvSpPr>
        <p:spPr>
          <a:xfrm>
            <a:off x="9591017" y="712540"/>
            <a:ext cx="2731540"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000"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stumization</a:t>
            </a: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nd organization maturity</a:t>
            </a:r>
          </a:p>
        </p:txBody>
      </p:sp>
      <p:sp>
        <p:nvSpPr>
          <p:cNvPr id="278" name="TextBox 277">
            <a:extLst>
              <a:ext uri="{FF2B5EF4-FFF2-40B4-BE49-F238E27FC236}">
                <a16:creationId xmlns:a16="http://schemas.microsoft.com/office/drawing/2014/main" id="{D75C2F99-8AEB-3C5E-1065-6B9435CE7DBC}"/>
              </a:ext>
            </a:extLst>
          </p:cNvPr>
          <p:cNvSpPr txBox="1"/>
          <p:nvPr/>
        </p:nvSpPr>
        <p:spPr>
          <a:xfrm>
            <a:off x="7953337" y="5618493"/>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281" name="Rectangle 280">
            <a:extLst>
              <a:ext uri="{FF2B5EF4-FFF2-40B4-BE49-F238E27FC236}">
                <a16:creationId xmlns:a16="http://schemas.microsoft.com/office/drawing/2014/main" id="{3B0DD1A2-7B31-7AD1-758B-702C17C4BC52}"/>
              </a:ext>
            </a:extLst>
          </p:cNvPr>
          <p:cNvSpPr/>
          <p:nvPr/>
        </p:nvSpPr>
        <p:spPr bwMode="auto">
          <a:xfrm>
            <a:off x="4233627" y="1294238"/>
            <a:ext cx="435586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2" name="TextBox 281">
            <a:extLst>
              <a:ext uri="{FF2B5EF4-FFF2-40B4-BE49-F238E27FC236}">
                <a16:creationId xmlns:a16="http://schemas.microsoft.com/office/drawing/2014/main" id="{F23BD4A4-59EF-2D65-DD46-82006585B3D0}"/>
              </a:ext>
            </a:extLst>
          </p:cNvPr>
          <p:cNvSpPr txBox="1"/>
          <p:nvPr/>
        </p:nvSpPr>
        <p:spPr>
          <a:xfrm>
            <a:off x="5381761" y="1321208"/>
            <a:ext cx="3111500" cy="230832"/>
          </a:xfrm>
          <a:prstGeom prst="rect">
            <a:avLst/>
          </a:prstGeom>
          <a:noFill/>
        </p:spPr>
        <p:txBody>
          <a:bodyPr wrap="square" lIns="0" tIns="0" rIns="0" bIns="0" rtlCol="0">
            <a:spAutoFit/>
          </a:bodyPr>
          <a:lstStyle/>
          <a:p>
            <a:pPr defTabSz="412750" hangingPunct="0"/>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Human to AI </a:t>
            </a:r>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nversation </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3" name="Rectangle 282">
            <a:extLst>
              <a:ext uri="{FF2B5EF4-FFF2-40B4-BE49-F238E27FC236}">
                <a16:creationId xmlns:a16="http://schemas.microsoft.com/office/drawing/2014/main" id="{03415E3B-BE0C-7122-13AC-EC5FE4F3DD58}"/>
              </a:ext>
            </a:extLst>
          </p:cNvPr>
          <p:cNvSpPr/>
          <p:nvPr/>
        </p:nvSpPr>
        <p:spPr bwMode="auto">
          <a:xfrm>
            <a:off x="9239635" y="1294238"/>
            <a:ext cx="2880768"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4" name="TextBox 283">
            <a:extLst>
              <a:ext uri="{FF2B5EF4-FFF2-40B4-BE49-F238E27FC236}">
                <a16:creationId xmlns:a16="http://schemas.microsoft.com/office/drawing/2014/main" id="{CC6718B2-B9B8-6741-C87E-CC893A44B3DD}"/>
              </a:ext>
            </a:extLst>
          </p:cNvPr>
          <p:cNvSpPr txBox="1"/>
          <p:nvPr/>
        </p:nvSpPr>
        <p:spPr>
          <a:xfrm>
            <a:off x="9288236" y="1366401"/>
            <a:ext cx="2830420" cy="184666"/>
          </a:xfrm>
          <a:prstGeom prst="rect">
            <a:avLst/>
          </a:prstGeom>
          <a:noFill/>
        </p:spPr>
        <p:txBody>
          <a:bodyPr wrap="square" lIns="0" tIns="0" rIns="0" bIns="0" rtlCol="0">
            <a:spAutoFit/>
          </a:bodyPr>
          <a:lstStyle/>
          <a:p>
            <a:pPr defTabSz="412750" hangingPunct="0"/>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gents to Agents’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Interaction</a:t>
            </a:r>
            <a:r>
              <a:rPr lang="en-US" sz="12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nd </a:t>
            </a:r>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ction</a:t>
            </a:r>
            <a:endParaRPr lang="en-NL" sz="12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285" name="Rectangle 284">
            <a:extLst>
              <a:ext uri="{FF2B5EF4-FFF2-40B4-BE49-F238E27FC236}">
                <a16:creationId xmlns:a16="http://schemas.microsoft.com/office/drawing/2014/main" id="{8CD76D61-D9DB-4013-673A-C3C1BA6C1C96}"/>
              </a:ext>
            </a:extLst>
          </p:cNvPr>
          <p:cNvSpPr/>
          <p:nvPr/>
        </p:nvSpPr>
        <p:spPr bwMode="auto">
          <a:xfrm>
            <a:off x="1444875" y="1313464"/>
            <a:ext cx="1871210"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286" name="TextBox 285">
            <a:extLst>
              <a:ext uri="{FF2B5EF4-FFF2-40B4-BE49-F238E27FC236}">
                <a16:creationId xmlns:a16="http://schemas.microsoft.com/office/drawing/2014/main" id="{B420B624-6CD1-8F94-65A0-2774CC5ED5B2}"/>
              </a:ext>
            </a:extLst>
          </p:cNvPr>
          <p:cNvSpPr txBox="1"/>
          <p:nvPr/>
        </p:nvSpPr>
        <p:spPr>
          <a:xfrm>
            <a:off x="1758735" y="1349786"/>
            <a:ext cx="1060404"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NLP</a:t>
            </a:r>
            <a:r>
              <a:rPr lang="en-US" sz="1500" b="1" kern="0">
                <a:solidFill>
                  <a:srgbClr val="FFB9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5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Tasks</a:t>
            </a:r>
            <a:endParaRPr lang="en-NL" sz="1500" b="1" kern="0">
              <a:solidFill>
                <a:srgbClr val="FFFFFF"/>
              </a:solidFill>
              <a:latin typeface="Helvetica Neue"/>
              <a:ea typeface="Segoe UI" pitchFamily="34" charset="0"/>
              <a:cs typeface="Segoe UI" pitchFamily="34" charset="0"/>
              <a:sym typeface="Helvetica Neue"/>
            </a:endParaRPr>
          </a:p>
        </p:txBody>
      </p:sp>
      <p:grpSp>
        <p:nvGrpSpPr>
          <p:cNvPr id="287" name="Group 286">
            <a:extLst>
              <a:ext uri="{FF2B5EF4-FFF2-40B4-BE49-F238E27FC236}">
                <a16:creationId xmlns:a16="http://schemas.microsoft.com/office/drawing/2014/main" id="{BB818460-B7DA-35A8-6044-467257B194ED}"/>
              </a:ext>
            </a:extLst>
          </p:cNvPr>
          <p:cNvGrpSpPr/>
          <p:nvPr/>
        </p:nvGrpSpPr>
        <p:grpSpPr>
          <a:xfrm>
            <a:off x="1456920" y="4382739"/>
            <a:ext cx="107823" cy="723306"/>
            <a:chOff x="1827208" y="9806233"/>
            <a:chExt cx="215645" cy="1446611"/>
          </a:xfrm>
        </p:grpSpPr>
        <p:sp>
          <p:nvSpPr>
            <p:cNvPr id="288" name="Oval 54">
              <a:extLst>
                <a:ext uri="{FF2B5EF4-FFF2-40B4-BE49-F238E27FC236}">
                  <a16:creationId xmlns:a16="http://schemas.microsoft.com/office/drawing/2014/main" id="{52163B01-9571-A266-7C7A-C71AD1555BE5}"/>
                </a:ext>
              </a:extLst>
            </p:cNvPr>
            <p:cNvSpPr>
              <a:spLocks/>
            </p:cNvSpPr>
            <p:nvPr/>
          </p:nvSpPr>
          <p:spPr bwMode="auto">
            <a:xfrm>
              <a:off x="1831849" y="9806233"/>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89" name="Oval 54">
              <a:extLst>
                <a:ext uri="{FF2B5EF4-FFF2-40B4-BE49-F238E27FC236}">
                  <a16:creationId xmlns:a16="http://schemas.microsoft.com/office/drawing/2014/main" id="{8D2B8A1A-AB72-0332-CA9C-0F08A696D5F1}"/>
                </a:ext>
              </a:extLst>
            </p:cNvPr>
            <p:cNvSpPr>
              <a:spLocks/>
            </p:cNvSpPr>
            <p:nvPr/>
          </p:nvSpPr>
          <p:spPr bwMode="auto">
            <a:xfrm>
              <a:off x="1827208" y="10219116"/>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0" name="Oval 54">
              <a:extLst>
                <a:ext uri="{FF2B5EF4-FFF2-40B4-BE49-F238E27FC236}">
                  <a16:creationId xmlns:a16="http://schemas.microsoft.com/office/drawing/2014/main" id="{8F820FE5-F0E1-6F83-C835-1FAA3539BB65}"/>
                </a:ext>
              </a:extLst>
            </p:cNvPr>
            <p:cNvSpPr>
              <a:spLocks/>
            </p:cNvSpPr>
            <p:nvPr/>
          </p:nvSpPr>
          <p:spPr bwMode="auto">
            <a:xfrm>
              <a:off x="1834891" y="10631999"/>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sp>
          <p:nvSpPr>
            <p:cNvPr id="291" name="Oval 54">
              <a:extLst>
                <a:ext uri="{FF2B5EF4-FFF2-40B4-BE49-F238E27FC236}">
                  <a16:creationId xmlns:a16="http://schemas.microsoft.com/office/drawing/2014/main" id="{0B02DD59-DE32-2809-B50D-70814F6678CF}"/>
                </a:ext>
              </a:extLst>
            </p:cNvPr>
            <p:cNvSpPr>
              <a:spLocks/>
            </p:cNvSpPr>
            <p:nvPr/>
          </p:nvSpPr>
          <p:spPr bwMode="auto">
            <a:xfrm>
              <a:off x="1830618" y="11044882"/>
              <a:ext cx="207962" cy="207962"/>
            </a:xfrm>
            <a:prstGeom prst="ellipse">
              <a:avLst/>
            </a:prstGeom>
            <a:solidFill>
              <a:srgbClr val="94B9BA"/>
            </a:solidFill>
            <a:ln w="101600" cap="flat" cmpd="sng">
              <a:noFill/>
              <a:prstDash val="solid"/>
              <a:miter lim="400000"/>
              <a:headEnd type="none" w="med" len="med"/>
              <a:tailEnd type="none" w="med" len="med"/>
            </a:ln>
            <a:effectLst>
              <a:glow>
                <a:srgbClr val="999999"/>
              </a:glow>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defTabSz="457200" fontAlgn="base">
                <a:spcBef>
                  <a:spcPct val="0"/>
                </a:spcBef>
                <a:spcAft>
                  <a:spcPct val="0"/>
                </a:spcAft>
                <a:defRPr/>
              </a:pPr>
              <a:endParaRPr lang="en-US" alt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Light" panose="020B0403020202020204" pitchFamily="34" charset="0"/>
              </a:endParaRPr>
            </a:p>
          </p:txBody>
        </p:sp>
      </p:grpSp>
      <p:sp>
        <p:nvSpPr>
          <p:cNvPr id="2" name="TextBox 1">
            <a:extLst>
              <a:ext uri="{FF2B5EF4-FFF2-40B4-BE49-F238E27FC236}">
                <a16:creationId xmlns:a16="http://schemas.microsoft.com/office/drawing/2014/main" id="{844B6A3C-9145-46FD-21D3-0C69DF08E642}"/>
              </a:ext>
            </a:extLst>
          </p:cNvPr>
          <p:cNvSpPr txBox="1"/>
          <p:nvPr/>
        </p:nvSpPr>
        <p:spPr>
          <a:xfrm>
            <a:off x="3570561" y="2549656"/>
            <a:ext cx="2117357"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 with your internal knowledgebase </a:t>
            </a:r>
          </a:p>
        </p:txBody>
      </p:sp>
      <p:sp>
        <p:nvSpPr>
          <p:cNvPr id="3" name="TextBox 2">
            <a:extLst>
              <a:ext uri="{FF2B5EF4-FFF2-40B4-BE49-F238E27FC236}">
                <a16:creationId xmlns:a16="http://schemas.microsoft.com/office/drawing/2014/main" id="{1D3B18E0-AB97-25FA-2437-264B750B9593}"/>
              </a:ext>
            </a:extLst>
          </p:cNvPr>
          <p:cNvSpPr txBox="1"/>
          <p:nvPr/>
        </p:nvSpPr>
        <p:spPr>
          <a:xfrm>
            <a:off x="3612835" y="563248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
        <p:nvSpPr>
          <p:cNvPr id="4" name="TextBox 3">
            <a:extLst>
              <a:ext uri="{FF2B5EF4-FFF2-40B4-BE49-F238E27FC236}">
                <a16:creationId xmlns:a16="http://schemas.microsoft.com/office/drawing/2014/main" id="{EE3245E1-70DC-2DD3-FD15-56A04A06D194}"/>
              </a:ext>
            </a:extLst>
          </p:cNvPr>
          <p:cNvSpPr txBox="1"/>
          <p:nvPr/>
        </p:nvSpPr>
        <p:spPr>
          <a:xfrm>
            <a:off x="3540151" y="3394315"/>
            <a:ext cx="2158648" cy="179536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an AI Contract manager able to answer questions on procurement contacts .</a:t>
            </a:r>
          </a:p>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Act as  metadata expert able to answer metadata related question such as what does and business term means how it is related to another  term and which data    </a:t>
            </a:r>
          </a:p>
        </p:txBody>
      </p:sp>
      <p:sp>
        <p:nvSpPr>
          <p:cNvPr id="5" name="TextBox 4">
            <a:extLst>
              <a:ext uri="{FF2B5EF4-FFF2-40B4-BE49-F238E27FC236}">
                <a16:creationId xmlns:a16="http://schemas.microsoft.com/office/drawing/2014/main" id="{036A1D7E-AA85-29EA-E6E5-685842A3B23C}"/>
              </a:ext>
            </a:extLst>
          </p:cNvPr>
          <p:cNvSpPr txBox="1"/>
          <p:nvPr/>
        </p:nvSpPr>
        <p:spPr>
          <a:xfrm>
            <a:off x="5801986" y="3467091"/>
            <a:ext cx="2031060" cy="48731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ts val="1650"/>
              </a:lnSpc>
              <a:buFont typeface="Arial" panose="020B0604020202020204" pitchFamily="34" charset="0"/>
              <a:buChar char="•"/>
              <a:defRPr/>
            </a:pPr>
            <a:r>
              <a:rPr lang="en-US" sz="900" i="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ustomer support, Customer experience , appointment setting</a:t>
            </a:r>
          </a:p>
        </p:txBody>
      </p:sp>
      <p:sp>
        <p:nvSpPr>
          <p:cNvPr id="6" name="TextBox 5">
            <a:extLst>
              <a:ext uri="{FF2B5EF4-FFF2-40B4-BE49-F238E27FC236}">
                <a16:creationId xmlns:a16="http://schemas.microsoft.com/office/drawing/2014/main" id="{FDAAC466-E881-E8B3-A6D6-132687D95F43}"/>
              </a:ext>
            </a:extLst>
          </p:cNvPr>
          <p:cNvSpPr txBox="1"/>
          <p:nvPr/>
        </p:nvSpPr>
        <p:spPr>
          <a:xfrm>
            <a:off x="5786410" y="2654372"/>
            <a:ext cx="2261173"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2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LLM-Enhanced Chatbots</a:t>
            </a:r>
          </a:p>
        </p:txBody>
      </p:sp>
      <p:sp>
        <p:nvSpPr>
          <p:cNvPr id="7" name="TextBox 6">
            <a:extLst>
              <a:ext uri="{FF2B5EF4-FFF2-40B4-BE49-F238E27FC236}">
                <a16:creationId xmlns:a16="http://schemas.microsoft.com/office/drawing/2014/main" id="{1004BC10-AC28-D21A-525A-4E73F715E729}"/>
              </a:ext>
            </a:extLst>
          </p:cNvPr>
          <p:cNvSpPr txBox="1"/>
          <p:nvPr/>
        </p:nvSpPr>
        <p:spPr>
          <a:xfrm>
            <a:off x="5786326" y="5564678"/>
            <a:ext cx="2086193" cy="923330"/>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AG</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Engineering, Chaining, Guardrails, Personality  </a:t>
            </a:r>
          </a:p>
          <a:p>
            <a:pPr marL="171450" indent="-171450" defTabSz="457200">
              <a:lnSpc>
                <a:spcPts val="1650"/>
              </a:lnSpc>
              <a:buFont typeface="Arial" panose="020B0604020202020204" pitchFamily="34" charset="0"/>
              <a:buChar char="•"/>
              <a:defRPr/>
            </a:pPr>
            <a:r>
              <a:rPr lang="en-US" sz="1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ntegration with existing apps</a:t>
            </a:r>
          </a:p>
        </p:txBody>
      </p:sp>
    </p:spTree>
    <p:extLst>
      <p:ext uri="{BB962C8B-B14F-4D97-AF65-F5344CB8AC3E}">
        <p14:creationId xmlns:p14="http://schemas.microsoft.com/office/powerpoint/2010/main" val="23706142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FF91B7-19E7-0FC5-EC56-2D46CBAA83B4}"/>
              </a:ext>
            </a:extLst>
          </p:cNvPr>
          <p:cNvSpPr txBox="1"/>
          <p:nvPr/>
        </p:nvSpPr>
        <p:spPr>
          <a:xfrm>
            <a:off x="79248" y="278616"/>
            <a:ext cx="12033504"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27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AI Powered apps share similar </a:t>
            </a:r>
            <a:r>
              <a:rPr lang="en-US" sz="27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ifecycle </a:t>
            </a:r>
          </a:p>
        </p:txBody>
      </p:sp>
      <p:grpSp>
        <p:nvGrpSpPr>
          <p:cNvPr id="5179" name="Group 5178">
            <a:extLst>
              <a:ext uri="{FF2B5EF4-FFF2-40B4-BE49-F238E27FC236}">
                <a16:creationId xmlns:a16="http://schemas.microsoft.com/office/drawing/2014/main" id="{92CBD902-88E6-51D4-719B-885D35186950}"/>
              </a:ext>
            </a:extLst>
          </p:cNvPr>
          <p:cNvGrpSpPr/>
          <p:nvPr/>
        </p:nvGrpSpPr>
        <p:grpSpPr>
          <a:xfrm>
            <a:off x="1621762" y="2085535"/>
            <a:ext cx="9253275" cy="3049786"/>
            <a:chOff x="4630945" y="4007263"/>
            <a:chExt cx="14806476" cy="4877622"/>
          </a:xfrm>
        </p:grpSpPr>
        <p:sp>
          <p:nvSpPr>
            <p:cNvPr id="5180" name="Rectangle 5179">
              <a:extLst>
                <a:ext uri="{FF2B5EF4-FFF2-40B4-BE49-F238E27FC236}">
                  <a16:creationId xmlns:a16="http://schemas.microsoft.com/office/drawing/2014/main" id="{3A632268-A17E-542C-F1A4-B22B29B5A905}"/>
                </a:ext>
              </a:extLst>
            </p:cNvPr>
            <p:cNvSpPr/>
            <p:nvPr/>
          </p:nvSpPr>
          <p:spPr>
            <a:xfrm>
              <a:off x="8865474" y="7667419"/>
              <a:ext cx="1947527" cy="1217466"/>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velop app</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Orchestration, Configuration, Caching, Logging, Evaluate &amp; Validation LLM  </a:t>
              </a:r>
            </a:p>
          </p:txBody>
        </p:sp>
        <p:sp>
          <p:nvSpPr>
            <p:cNvPr id="5181" name="Freeform: Shape 5180">
              <a:extLst>
                <a:ext uri="{FF2B5EF4-FFF2-40B4-BE49-F238E27FC236}">
                  <a16:creationId xmlns:a16="http://schemas.microsoft.com/office/drawing/2014/main" id="{79077449-3AD5-E552-55C8-E3BCBFD39FA5}"/>
                </a:ext>
              </a:extLst>
            </p:cNvPr>
            <p:cNvSpPr/>
            <p:nvPr/>
          </p:nvSpPr>
          <p:spPr>
            <a:xfrm>
              <a:off x="6234702"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2" name="Freeform: Shape 5181">
              <a:extLst>
                <a:ext uri="{FF2B5EF4-FFF2-40B4-BE49-F238E27FC236}">
                  <a16:creationId xmlns:a16="http://schemas.microsoft.com/office/drawing/2014/main" id="{BBC436D0-0784-3609-73B0-F375E2F5AE7D}"/>
                </a:ext>
              </a:extLst>
            </p:cNvPr>
            <p:cNvSpPr/>
            <p:nvPr/>
          </p:nvSpPr>
          <p:spPr>
            <a:xfrm flipH="1">
              <a:off x="9752528" y="4916392"/>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3" name="Freeform: Shape 5182">
              <a:extLst>
                <a:ext uri="{FF2B5EF4-FFF2-40B4-BE49-F238E27FC236}">
                  <a16:creationId xmlns:a16="http://schemas.microsoft.com/office/drawing/2014/main" id="{4D2DD09E-7617-2262-1C4C-885C430332CF}"/>
                </a:ext>
              </a:extLst>
            </p:cNvPr>
            <p:cNvSpPr/>
            <p:nvPr/>
          </p:nvSpPr>
          <p:spPr>
            <a:xfrm>
              <a:off x="5864299" y="4579979"/>
              <a:ext cx="2305839" cy="3603409"/>
            </a:xfrm>
            <a:custGeom>
              <a:avLst/>
              <a:gdLst>
                <a:gd name="connsiteX0" fmla="*/ 1480149 w 2169234"/>
                <a:gd name="connsiteY0" fmla="*/ 0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1480149 w 2169234"/>
                <a:gd name="connsiteY0" fmla="*/ 0 h 3389932"/>
                <a:gd name="connsiteX1" fmla="*/ 1800837 w 2169234"/>
                <a:gd name="connsiteY1" fmla="*/ 1665843 h 3389932"/>
                <a:gd name="connsiteX2" fmla="*/ 2169234 w 2169234"/>
                <a:gd name="connsiteY2" fmla="*/ 3324386 h 3389932"/>
                <a:gd name="connsiteX3" fmla="*/ 2028474 w 2169234"/>
                <a:gd name="connsiteY3" fmla="*/ 3358754 h 3389932"/>
                <a:gd name="connsiteX4" fmla="*/ 498849 w 2169234"/>
                <a:gd name="connsiteY4" fmla="*/ 2891082 h 3389932"/>
                <a:gd name="connsiteX5" fmla="*/ 498849 w 2169234"/>
                <a:gd name="connsiteY5" fmla="*/ 482428 h 3389932"/>
                <a:gd name="connsiteX6" fmla="*/ 1377880 w 2169234"/>
                <a:gd name="connsiteY6" fmla="*/ 14757 h 3389932"/>
                <a:gd name="connsiteX7" fmla="*/ 1480149 w 2169234"/>
                <a:gd name="connsiteY7" fmla="*/ 0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7" fmla="*/ 1892277 w 2169234"/>
                <a:gd name="connsiteY7" fmla="*/ 1757283 h 3389932"/>
                <a:gd name="connsiteX0" fmla="*/ 1800837 w 2169234"/>
                <a:gd name="connsiteY0" fmla="*/ 1665843 h 3389932"/>
                <a:gd name="connsiteX1" fmla="*/ 2169234 w 2169234"/>
                <a:gd name="connsiteY1" fmla="*/ 3324386 h 3389932"/>
                <a:gd name="connsiteX2" fmla="*/ 2028474 w 2169234"/>
                <a:gd name="connsiteY2" fmla="*/ 3358754 h 3389932"/>
                <a:gd name="connsiteX3" fmla="*/ 498849 w 2169234"/>
                <a:gd name="connsiteY3" fmla="*/ 2891082 h 3389932"/>
                <a:gd name="connsiteX4" fmla="*/ 498849 w 2169234"/>
                <a:gd name="connsiteY4" fmla="*/ 482428 h 3389932"/>
                <a:gd name="connsiteX5" fmla="*/ 1377880 w 2169234"/>
                <a:gd name="connsiteY5" fmla="*/ 14757 h 3389932"/>
                <a:gd name="connsiteX6" fmla="*/ 1480149 w 2169234"/>
                <a:gd name="connsiteY6" fmla="*/ 0 h 3389932"/>
                <a:gd name="connsiteX0" fmla="*/ 2169234 w 2169234"/>
                <a:gd name="connsiteY0" fmla="*/ 3324386 h 3389932"/>
                <a:gd name="connsiteX1" fmla="*/ 2028474 w 2169234"/>
                <a:gd name="connsiteY1" fmla="*/ 3358754 h 3389932"/>
                <a:gd name="connsiteX2" fmla="*/ 498849 w 2169234"/>
                <a:gd name="connsiteY2" fmla="*/ 2891082 h 3389932"/>
                <a:gd name="connsiteX3" fmla="*/ 498849 w 2169234"/>
                <a:gd name="connsiteY3" fmla="*/ 482428 h 3389932"/>
                <a:gd name="connsiteX4" fmla="*/ 1377880 w 2169234"/>
                <a:gd name="connsiteY4" fmla="*/ 14757 h 3389932"/>
                <a:gd name="connsiteX5" fmla="*/ 1480149 w 2169234"/>
                <a:gd name="connsiteY5" fmla="*/ 0 h 338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234" h="3389932">
                  <a:moveTo>
                    <a:pt x="2169234" y="3324386"/>
                  </a:moveTo>
                  <a:lnTo>
                    <a:pt x="2028474" y="3358754"/>
                  </a:lnTo>
                  <a:cubicBezTo>
                    <a:pt x="1491694" y="3462681"/>
                    <a:pt x="914556" y="3306790"/>
                    <a:pt x="498849" y="2891082"/>
                  </a:cubicBezTo>
                  <a:cubicBezTo>
                    <a:pt x="-166284" y="2225951"/>
                    <a:pt x="-166284" y="1147559"/>
                    <a:pt x="498849" y="482428"/>
                  </a:cubicBezTo>
                  <a:cubicBezTo>
                    <a:pt x="748274" y="233004"/>
                    <a:pt x="1055812" y="77114"/>
                    <a:pt x="1377880" y="14757"/>
                  </a:cubicBezTo>
                  <a:lnTo>
                    <a:pt x="1480149" y="0"/>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4" name="Freeform: Shape 5183">
              <a:extLst>
                <a:ext uri="{FF2B5EF4-FFF2-40B4-BE49-F238E27FC236}">
                  <a16:creationId xmlns:a16="http://schemas.microsoft.com/office/drawing/2014/main" id="{82EAE5C6-FBD9-7C03-6949-700BB087EAD7}"/>
                </a:ext>
              </a:extLst>
            </p:cNvPr>
            <p:cNvSpPr/>
            <p:nvPr/>
          </p:nvSpPr>
          <p:spPr>
            <a:xfrm>
              <a:off x="7437660" y="4562525"/>
              <a:ext cx="2797413" cy="3551190"/>
            </a:xfrm>
            <a:custGeom>
              <a:avLst/>
              <a:gdLst>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0 w 2631685"/>
                <a:gd name="connsiteY6" fmla="*/ 16421 h 3340807"/>
                <a:gd name="connsiteX7" fmla="*/ 59774 w 2631685"/>
                <a:gd name="connsiteY7" fmla="*/ 7795 h 3340807"/>
                <a:gd name="connsiteX8" fmla="*/ 223028 w 2631685"/>
                <a:gd name="connsiteY8" fmla="*/ 0 h 3340807"/>
                <a:gd name="connsiteX0" fmla="*/ 223028 w 2631685"/>
                <a:gd name="connsiteY0" fmla="*/ 0 h 3340807"/>
                <a:gd name="connsiteX1" fmla="*/ 1427356 w 2631685"/>
                <a:gd name="connsiteY1" fmla="*/ 498849 h 3340807"/>
                <a:gd name="connsiteX2" fmla="*/ 2631685 w 2631685"/>
                <a:gd name="connsiteY2" fmla="*/ 1703176 h 3340807"/>
                <a:gd name="connsiteX3" fmla="*/ 1427356 w 2631685"/>
                <a:gd name="connsiteY3" fmla="*/ 2907503 h 3340807"/>
                <a:gd name="connsiteX4" fmla="*/ 707946 w 2631685"/>
                <a:gd name="connsiteY4" fmla="*/ 3336202 h 3340807"/>
                <a:gd name="connsiteX5" fmla="*/ 689085 w 2631685"/>
                <a:gd name="connsiteY5" fmla="*/ 3340807 h 3340807"/>
                <a:gd name="connsiteX6" fmla="*/ 351167 w 2631685"/>
                <a:gd name="connsiteY6" fmla="*/ 1651783 h 3340807"/>
                <a:gd name="connsiteX7" fmla="*/ 0 w 2631685"/>
                <a:gd name="connsiteY7" fmla="*/ 16421 h 3340807"/>
                <a:gd name="connsiteX8" fmla="*/ 59774 w 2631685"/>
                <a:gd name="connsiteY8" fmla="*/ 7795 h 3340807"/>
                <a:gd name="connsiteX9" fmla="*/ 223028 w 2631685"/>
                <a:gd name="connsiteY9" fmla="*/ 0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9" fmla="*/ 442607 w 2631685"/>
                <a:gd name="connsiteY9" fmla="*/ 1743223 h 3340807"/>
                <a:gd name="connsiteX0" fmla="*/ 351167 w 2631685"/>
                <a:gd name="connsiteY0" fmla="*/ 1651783 h 3340807"/>
                <a:gd name="connsiteX1" fmla="*/ 0 w 2631685"/>
                <a:gd name="connsiteY1" fmla="*/ 16421 h 3340807"/>
                <a:gd name="connsiteX2" fmla="*/ 59774 w 2631685"/>
                <a:gd name="connsiteY2" fmla="*/ 7795 h 3340807"/>
                <a:gd name="connsiteX3" fmla="*/ 223028 w 2631685"/>
                <a:gd name="connsiteY3" fmla="*/ 0 h 3340807"/>
                <a:gd name="connsiteX4" fmla="*/ 1427356 w 2631685"/>
                <a:gd name="connsiteY4" fmla="*/ 498849 h 3340807"/>
                <a:gd name="connsiteX5" fmla="*/ 2631685 w 2631685"/>
                <a:gd name="connsiteY5" fmla="*/ 1703176 h 3340807"/>
                <a:gd name="connsiteX6" fmla="*/ 1427356 w 2631685"/>
                <a:gd name="connsiteY6" fmla="*/ 2907503 h 3340807"/>
                <a:gd name="connsiteX7" fmla="*/ 707946 w 2631685"/>
                <a:gd name="connsiteY7" fmla="*/ 3336202 h 3340807"/>
                <a:gd name="connsiteX8" fmla="*/ 689085 w 2631685"/>
                <a:gd name="connsiteY8" fmla="*/ 3340807 h 3340807"/>
                <a:gd name="connsiteX0" fmla="*/ 0 w 2631685"/>
                <a:gd name="connsiteY0" fmla="*/ 16421 h 3340807"/>
                <a:gd name="connsiteX1" fmla="*/ 59774 w 2631685"/>
                <a:gd name="connsiteY1" fmla="*/ 7795 h 3340807"/>
                <a:gd name="connsiteX2" fmla="*/ 223028 w 2631685"/>
                <a:gd name="connsiteY2" fmla="*/ 0 h 3340807"/>
                <a:gd name="connsiteX3" fmla="*/ 1427356 w 2631685"/>
                <a:gd name="connsiteY3" fmla="*/ 498849 h 3340807"/>
                <a:gd name="connsiteX4" fmla="*/ 2631685 w 2631685"/>
                <a:gd name="connsiteY4" fmla="*/ 1703176 h 3340807"/>
                <a:gd name="connsiteX5" fmla="*/ 1427356 w 2631685"/>
                <a:gd name="connsiteY5" fmla="*/ 2907503 h 3340807"/>
                <a:gd name="connsiteX6" fmla="*/ 707946 w 2631685"/>
                <a:gd name="connsiteY6" fmla="*/ 3336202 h 3340807"/>
                <a:gd name="connsiteX7" fmla="*/ 689085 w 2631685"/>
                <a:gd name="connsiteY7" fmla="*/ 3340807 h 334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685" h="3340807">
                  <a:moveTo>
                    <a:pt x="0" y="16421"/>
                  </a:moveTo>
                  <a:lnTo>
                    <a:pt x="59774" y="7795"/>
                  </a:lnTo>
                  <a:cubicBezTo>
                    <a:pt x="114058" y="2598"/>
                    <a:pt x="168543" y="0"/>
                    <a:pt x="223028" y="0"/>
                  </a:cubicBezTo>
                  <a:cubicBezTo>
                    <a:pt x="658910" y="0"/>
                    <a:pt x="1094790" y="166284"/>
                    <a:pt x="1427356" y="498849"/>
                  </a:cubicBezTo>
                  <a:lnTo>
                    <a:pt x="2631685" y="1703176"/>
                  </a:lnTo>
                  <a:lnTo>
                    <a:pt x="1427356" y="2907503"/>
                  </a:lnTo>
                  <a:cubicBezTo>
                    <a:pt x="1219503" y="3115357"/>
                    <a:pt x="971292" y="3258257"/>
                    <a:pt x="707946" y="3336202"/>
                  </a:cubicBezTo>
                  <a:lnTo>
                    <a:pt x="689085" y="3340807"/>
                  </a:lnTo>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5" name="Freeform: Shape 5184">
              <a:extLst>
                <a:ext uri="{FF2B5EF4-FFF2-40B4-BE49-F238E27FC236}">
                  <a16:creationId xmlns:a16="http://schemas.microsoft.com/office/drawing/2014/main" id="{729D5722-BF01-3A21-0050-09719AC517F9}"/>
                </a:ext>
              </a:extLst>
            </p:cNvPr>
            <p:cNvSpPr/>
            <p:nvPr/>
          </p:nvSpPr>
          <p:spPr>
            <a:xfrm flipH="1">
              <a:off x="9271370" y="4562524"/>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6" name="Oval 5185">
              <a:extLst>
                <a:ext uri="{FF2B5EF4-FFF2-40B4-BE49-F238E27FC236}">
                  <a16:creationId xmlns:a16="http://schemas.microsoft.com/office/drawing/2014/main" id="{BBC15FF9-B0C4-6705-BEC9-861AB744B235}"/>
                </a:ext>
              </a:extLst>
            </p:cNvPr>
            <p:cNvSpPr/>
            <p:nvPr/>
          </p:nvSpPr>
          <p:spPr>
            <a:xfrm>
              <a:off x="8844191" y="5522067"/>
              <a:ext cx="1663172" cy="1663171"/>
            </a:xfrm>
            <a:prstGeom prst="ellipse">
              <a:avLst/>
            </a:prstGeom>
            <a:solidFill>
              <a:srgbClr val="94B9BA">
                <a:lumMod val="40000"/>
                <a:lumOff val="6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7" name="Oval 5186">
              <a:extLst>
                <a:ext uri="{FF2B5EF4-FFF2-40B4-BE49-F238E27FC236}">
                  <a16:creationId xmlns:a16="http://schemas.microsoft.com/office/drawing/2014/main" id="{2FDFEFBE-823E-426D-17CA-389E3EB2FCE7}"/>
                </a:ext>
              </a:extLst>
            </p:cNvPr>
            <p:cNvSpPr/>
            <p:nvPr/>
          </p:nvSpPr>
          <p:spPr>
            <a:xfrm>
              <a:off x="8997332" y="5675207"/>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8" name="Rectangle 17">
              <a:extLst>
                <a:ext uri="{FF2B5EF4-FFF2-40B4-BE49-F238E27FC236}">
                  <a16:creationId xmlns:a16="http://schemas.microsoft.com/office/drawing/2014/main" id="{6AAC2EBE-7858-2795-84BC-7C4B3AD2F020}"/>
                </a:ext>
              </a:extLst>
            </p:cNvPr>
            <p:cNvSpPr/>
            <p:nvPr/>
          </p:nvSpPr>
          <p:spPr>
            <a:xfrm rot="5400000">
              <a:off x="8844191" y="49848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89" name="Rectangle 17">
              <a:extLst>
                <a:ext uri="{FF2B5EF4-FFF2-40B4-BE49-F238E27FC236}">
                  <a16:creationId xmlns:a16="http://schemas.microsoft.com/office/drawing/2014/main" id="{832E42A5-0F2F-E4D6-2A6A-AA2A5E6DF0A1}"/>
                </a:ext>
              </a:extLst>
            </p:cNvPr>
            <p:cNvSpPr/>
            <p:nvPr/>
          </p:nvSpPr>
          <p:spPr>
            <a:xfrm rot="5400000">
              <a:off x="10480900" y="758616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0" name="Rectangle 17">
              <a:extLst>
                <a:ext uri="{FF2B5EF4-FFF2-40B4-BE49-F238E27FC236}">
                  <a16:creationId xmlns:a16="http://schemas.microsoft.com/office/drawing/2014/main" id="{F5484D0F-0A73-4552-D5C2-A59E8DE45B6B}"/>
                </a:ext>
              </a:extLst>
            </p:cNvPr>
            <p:cNvSpPr/>
            <p:nvPr/>
          </p:nvSpPr>
          <p:spPr>
            <a:xfrm rot="3040213">
              <a:off x="11470530" y="8102162"/>
              <a:ext cx="123632" cy="123756"/>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1" name="Rectangle 17">
              <a:extLst>
                <a:ext uri="{FF2B5EF4-FFF2-40B4-BE49-F238E27FC236}">
                  <a16:creationId xmlns:a16="http://schemas.microsoft.com/office/drawing/2014/main" id="{5A5C816D-C2FD-285F-3616-294A919B4010}"/>
                </a:ext>
              </a:extLst>
            </p:cNvPr>
            <p:cNvSpPr/>
            <p:nvPr/>
          </p:nvSpPr>
          <p:spPr>
            <a:xfrm rot="17287526">
              <a:off x="13476378" y="569659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rgbClr val="60767B"/>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2" name="Rectangle 17">
              <a:extLst>
                <a:ext uri="{FF2B5EF4-FFF2-40B4-BE49-F238E27FC236}">
                  <a16:creationId xmlns:a16="http://schemas.microsoft.com/office/drawing/2014/main" id="{E72E7668-0D39-063E-56D7-ED7FDB304A87}"/>
                </a:ext>
              </a:extLst>
            </p:cNvPr>
            <p:cNvSpPr/>
            <p:nvPr/>
          </p:nvSpPr>
          <p:spPr>
            <a:xfrm rot="12755834">
              <a:off x="11323572" y="4556568"/>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3" name="Rectangle 17">
              <a:extLst>
                <a:ext uri="{FF2B5EF4-FFF2-40B4-BE49-F238E27FC236}">
                  <a16:creationId xmlns:a16="http://schemas.microsoft.com/office/drawing/2014/main" id="{097066C5-8812-392E-E02A-C610B632ED37}"/>
                </a:ext>
              </a:extLst>
            </p:cNvPr>
            <p:cNvSpPr/>
            <p:nvPr/>
          </p:nvSpPr>
          <p:spPr>
            <a:xfrm rot="11700000">
              <a:off x="8363953" y="7956837"/>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4" name="Rectangle 17">
              <a:extLst>
                <a:ext uri="{FF2B5EF4-FFF2-40B4-BE49-F238E27FC236}">
                  <a16:creationId xmlns:a16="http://schemas.microsoft.com/office/drawing/2014/main" id="{15A8C645-8A20-1015-4618-BC802FBDB71A}"/>
                </a:ext>
              </a:extLst>
            </p:cNvPr>
            <p:cNvSpPr/>
            <p:nvPr/>
          </p:nvSpPr>
          <p:spPr>
            <a:xfrm rot="16908770">
              <a:off x="6227541" y="748271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5" name="Rectangle 17">
              <a:extLst>
                <a:ext uri="{FF2B5EF4-FFF2-40B4-BE49-F238E27FC236}">
                  <a16:creationId xmlns:a16="http://schemas.microsoft.com/office/drawing/2014/main" id="{FC6B47B1-2948-EDB3-2C4A-26818E8089C6}"/>
                </a:ext>
              </a:extLst>
            </p:cNvPr>
            <p:cNvSpPr/>
            <p:nvPr/>
          </p:nvSpPr>
          <p:spPr>
            <a:xfrm rot="235497">
              <a:off x="6142844" y="523429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6" name="Oval 5195">
              <a:extLst>
                <a:ext uri="{FF2B5EF4-FFF2-40B4-BE49-F238E27FC236}">
                  <a16:creationId xmlns:a16="http://schemas.microsoft.com/office/drawing/2014/main" id="{5AF666FF-17C1-B307-48D4-0974A30F4FAF}"/>
                </a:ext>
              </a:extLst>
            </p:cNvPr>
            <p:cNvSpPr/>
            <p:nvPr/>
          </p:nvSpPr>
          <p:spPr>
            <a:xfrm>
              <a:off x="6429281"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7" name="Oval 5196">
              <a:extLst>
                <a:ext uri="{FF2B5EF4-FFF2-40B4-BE49-F238E27FC236}">
                  <a16:creationId xmlns:a16="http://schemas.microsoft.com/office/drawing/2014/main" id="{EE86796D-0726-362A-766A-D779B07CE358}"/>
                </a:ext>
              </a:extLst>
            </p:cNvPr>
            <p:cNvSpPr/>
            <p:nvPr/>
          </p:nvSpPr>
          <p:spPr>
            <a:xfrm>
              <a:off x="6429281"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8" name="Oval 5197">
              <a:extLst>
                <a:ext uri="{FF2B5EF4-FFF2-40B4-BE49-F238E27FC236}">
                  <a16:creationId xmlns:a16="http://schemas.microsoft.com/office/drawing/2014/main" id="{022B5EC9-2D9E-C54B-C411-F3DDCE14995D}"/>
                </a:ext>
              </a:extLst>
            </p:cNvPr>
            <p:cNvSpPr/>
            <p:nvPr/>
          </p:nvSpPr>
          <p:spPr>
            <a:xfrm>
              <a:off x="7953281"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199" name="Oval 5198">
              <a:extLst>
                <a:ext uri="{FF2B5EF4-FFF2-40B4-BE49-F238E27FC236}">
                  <a16:creationId xmlns:a16="http://schemas.microsoft.com/office/drawing/2014/main" id="{57C02AA2-F9B2-72FF-7A61-CCC5952A2036}"/>
                </a:ext>
              </a:extLst>
            </p:cNvPr>
            <p:cNvSpPr/>
            <p:nvPr/>
          </p:nvSpPr>
          <p:spPr>
            <a:xfrm>
              <a:off x="8000578"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0" name="Oval 5199">
              <a:extLst>
                <a:ext uri="{FF2B5EF4-FFF2-40B4-BE49-F238E27FC236}">
                  <a16:creationId xmlns:a16="http://schemas.microsoft.com/office/drawing/2014/main" id="{37A77CE7-D171-211E-503F-E5C5AE201161}"/>
                </a:ext>
              </a:extLst>
            </p:cNvPr>
            <p:cNvSpPr/>
            <p:nvPr/>
          </p:nvSpPr>
          <p:spPr>
            <a:xfrm>
              <a:off x="11382133" y="491639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1" name="Oval 5200">
              <a:extLst>
                <a:ext uri="{FF2B5EF4-FFF2-40B4-BE49-F238E27FC236}">
                  <a16:creationId xmlns:a16="http://schemas.microsoft.com/office/drawing/2014/main" id="{D1426A12-DF04-B90D-AE9D-5371DFA428AA}"/>
                </a:ext>
              </a:extLst>
            </p:cNvPr>
            <p:cNvSpPr/>
            <p:nvPr/>
          </p:nvSpPr>
          <p:spPr>
            <a:xfrm>
              <a:off x="11510755" y="7749555"/>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2" name="Oval 5201">
              <a:extLst>
                <a:ext uri="{FF2B5EF4-FFF2-40B4-BE49-F238E27FC236}">
                  <a16:creationId xmlns:a16="http://schemas.microsoft.com/office/drawing/2014/main" id="{863DE5CF-AEC8-E0A3-458B-C758F70F0557}"/>
                </a:ext>
              </a:extLst>
            </p:cNvPr>
            <p:cNvSpPr/>
            <p:nvPr/>
          </p:nvSpPr>
          <p:spPr>
            <a:xfrm>
              <a:off x="12979710" y="71365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3" name="Oval 5202">
              <a:extLst>
                <a:ext uri="{FF2B5EF4-FFF2-40B4-BE49-F238E27FC236}">
                  <a16:creationId xmlns:a16="http://schemas.microsoft.com/office/drawing/2014/main" id="{D2A0D14C-8DC0-C89A-F289-26AD28597CB8}"/>
                </a:ext>
              </a:extLst>
            </p:cNvPr>
            <p:cNvSpPr/>
            <p:nvPr/>
          </p:nvSpPr>
          <p:spPr>
            <a:xfrm>
              <a:off x="12971398" y="5510950"/>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04" name="Rectangle 5203">
              <a:extLst>
                <a:ext uri="{FF2B5EF4-FFF2-40B4-BE49-F238E27FC236}">
                  <a16:creationId xmlns:a16="http://schemas.microsoft.com/office/drawing/2014/main" id="{61DD8A69-7C34-15A8-7440-305516C2DE9F}"/>
                </a:ext>
              </a:extLst>
            </p:cNvPr>
            <p:cNvSpPr/>
            <p:nvPr/>
          </p:nvSpPr>
          <p:spPr>
            <a:xfrm>
              <a:off x="10764468" y="5721624"/>
              <a:ext cx="210322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velop, deploy  and monitor GenAI powered apps</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AI/software Engineers </a:t>
              </a:r>
            </a:p>
          </p:txBody>
        </p:sp>
        <p:sp>
          <p:nvSpPr>
            <p:cNvPr id="5205" name="Rectangle 5204">
              <a:extLst>
                <a:ext uri="{FF2B5EF4-FFF2-40B4-BE49-F238E27FC236}">
                  <a16:creationId xmlns:a16="http://schemas.microsoft.com/office/drawing/2014/main" id="{8A6A8DB3-95DE-BFD2-60BA-078FD418F7DE}"/>
                </a:ext>
              </a:extLst>
            </p:cNvPr>
            <p:cNvSpPr/>
            <p:nvPr/>
          </p:nvSpPr>
          <p:spPr>
            <a:xfrm>
              <a:off x="6645044" y="5782074"/>
              <a:ext cx="2011590" cy="121418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Playground &amp; experimentation</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Novice User, analysts,  developers </a:t>
              </a:r>
            </a:p>
          </p:txBody>
        </p:sp>
        <p:sp>
          <p:nvSpPr>
            <p:cNvPr id="5206" name="Rectangle 5205">
              <a:extLst>
                <a:ext uri="{FF2B5EF4-FFF2-40B4-BE49-F238E27FC236}">
                  <a16:creationId xmlns:a16="http://schemas.microsoft.com/office/drawing/2014/main" id="{47D8D1AA-FB4C-5EDE-D74D-6D619FD26DD9}"/>
                </a:ext>
              </a:extLst>
            </p:cNvPr>
            <p:cNvSpPr/>
            <p:nvPr/>
          </p:nvSpPr>
          <p:spPr>
            <a:xfrm>
              <a:off x="9245484" y="6171509"/>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07" name="Rectangle 5206">
              <a:extLst>
                <a:ext uri="{FF2B5EF4-FFF2-40B4-BE49-F238E27FC236}">
                  <a16:creationId xmlns:a16="http://schemas.microsoft.com/office/drawing/2014/main" id="{9E1CDE2E-E57A-386A-4C82-D8DC76434776}"/>
                </a:ext>
              </a:extLst>
            </p:cNvPr>
            <p:cNvSpPr/>
            <p:nvPr/>
          </p:nvSpPr>
          <p:spPr>
            <a:xfrm>
              <a:off x="4630945" y="7271825"/>
              <a:ext cx="1560101"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xperiment different  GenAI Models   </a:t>
              </a:r>
            </a:p>
          </p:txBody>
        </p:sp>
        <p:sp>
          <p:nvSpPr>
            <p:cNvPr id="5208" name="Rectangle 5207">
              <a:extLst>
                <a:ext uri="{FF2B5EF4-FFF2-40B4-BE49-F238E27FC236}">
                  <a16:creationId xmlns:a16="http://schemas.microsoft.com/office/drawing/2014/main" id="{5F2B3363-02B5-1AC0-3489-B67ABAD84C77}"/>
                </a:ext>
              </a:extLst>
            </p:cNvPr>
            <p:cNvSpPr/>
            <p:nvPr/>
          </p:nvSpPr>
          <p:spPr>
            <a:xfrm>
              <a:off x="5873257" y="8177962"/>
              <a:ext cx="1708235"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Few-shots) Prompting, Advanced Prompting  </a:t>
              </a:r>
            </a:p>
          </p:txBody>
        </p:sp>
        <p:sp>
          <p:nvSpPr>
            <p:cNvPr id="5209" name="Freeform: Shape 5208">
              <a:extLst>
                <a:ext uri="{FF2B5EF4-FFF2-40B4-BE49-F238E27FC236}">
                  <a16:creationId xmlns:a16="http://schemas.microsoft.com/office/drawing/2014/main" id="{1582381E-4F6A-B4CE-50B5-DAF0574F31DD}"/>
                </a:ext>
              </a:extLst>
            </p:cNvPr>
            <p:cNvSpPr/>
            <p:nvPr/>
          </p:nvSpPr>
          <p:spPr>
            <a:xfrm flipH="1">
              <a:off x="13901225" y="4914989"/>
              <a:ext cx="3516455" cy="2913126"/>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152400" cap="flat" cmpd="sng" algn="ctr">
              <a:solidFill>
                <a:schemeClr val="accent3">
                  <a:lumMod val="20000"/>
                  <a:lumOff val="80000"/>
                </a:schemeClr>
              </a:solidFill>
              <a:prstDash val="solid"/>
            </a:ln>
            <a:effectLst/>
          </p:spPr>
          <p:txBody>
            <a:bodyPr wrap="square" rtlCol="0" anchor="ctr">
              <a:noAutofit/>
            </a:bodyP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0" name="Freeform: Shape 5209">
              <a:extLst>
                <a:ext uri="{FF2B5EF4-FFF2-40B4-BE49-F238E27FC236}">
                  <a16:creationId xmlns:a16="http://schemas.microsoft.com/office/drawing/2014/main" id="{14E88CE7-82B0-071C-76C8-B1C72BBAA998}"/>
                </a:ext>
              </a:extLst>
            </p:cNvPr>
            <p:cNvSpPr/>
            <p:nvPr/>
          </p:nvSpPr>
          <p:spPr>
            <a:xfrm flipH="1">
              <a:off x="13420067" y="4561121"/>
              <a:ext cx="4370773" cy="3620863"/>
            </a:xfrm>
            <a:custGeom>
              <a:avLst/>
              <a:gdLst>
                <a:gd name="connsiteX0" fmla="*/ 864096 w 2086113"/>
                <a:gd name="connsiteY0" fmla="*/ 0 h 1728192"/>
                <a:gd name="connsiteX1" fmla="*/ 1475104 w 2086113"/>
                <a:gd name="connsiteY1" fmla="*/ 253088 h 1728192"/>
                <a:gd name="connsiteX2" fmla="*/ 2086113 w 2086113"/>
                <a:gd name="connsiteY2" fmla="*/ 864096 h 1728192"/>
                <a:gd name="connsiteX3" fmla="*/ 1475104 w 2086113"/>
                <a:gd name="connsiteY3" fmla="*/ 1475104 h 1728192"/>
                <a:gd name="connsiteX4" fmla="*/ 253088 w 2086113"/>
                <a:gd name="connsiteY4" fmla="*/ 1475104 h 1728192"/>
                <a:gd name="connsiteX5" fmla="*/ 253088 w 2086113"/>
                <a:gd name="connsiteY5" fmla="*/ 253088 h 1728192"/>
                <a:gd name="connsiteX6" fmla="*/ 864096 w 2086113"/>
                <a:gd name="connsiteY6" fmla="*/ 0 h 17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113" h="1728192">
                  <a:moveTo>
                    <a:pt x="864096" y="0"/>
                  </a:moveTo>
                  <a:cubicBezTo>
                    <a:pt x="1085238" y="0"/>
                    <a:pt x="1306379" y="84363"/>
                    <a:pt x="1475104" y="253088"/>
                  </a:cubicBezTo>
                  <a:lnTo>
                    <a:pt x="2086113" y="864096"/>
                  </a:lnTo>
                  <a:lnTo>
                    <a:pt x="1475104" y="1475104"/>
                  </a:lnTo>
                  <a:cubicBezTo>
                    <a:pt x="1137654" y="1812555"/>
                    <a:pt x="590538" y="1812555"/>
                    <a:pt x="253088" y="1475104"/>
                  </a:cubicBezTo>
                  <a:cubicBezTo>
                    <a:pt x="-84363" y="1137654"/>
                    <a:pt x="-84363" y="590538"/>
                    <a:pt x="253088" y="253088"/>
                  </a:cubicBezTo>
                  <a:cubicBezTo>
                    <a:pt x="421813" y="84363"/>
                    <a:pt x="642954" y="0"/>
                    <a:pt x="864096" y="0"/>
                  </a:cubicBezTo>
                  <a:close/>
                </a:path>
              </a:pathLst>
            </a:custGeom>
            <a:noFill/>
            <a:ln w="38100" cap="flat" cmpd="sng" algn="ctr">
              <a:solidFill>
                <a:srgbClr val="0078D4"/>
              </a:solidFill>
              <a:prstDash val="solid"/>
            </a:ln>
            <a:effectLst/>
          </p:spPr>
          <p:txBody>
            <a:bodyPr wrap="square" rtlCol="0" anchor="ctr">
              <a:noAutofit/>
            </a:bodyPr>
            <a:lstStyle/>
            <a:p>
              <a:pPr algn="ctr" defTabSz="609494">
                <a:defRPr/>
              </a:pPr>
              <a:endParaRPr lang="en-IN" sz="120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1" name="Oval 5210">
              <a:extLst>
                <a:ext uri="{FF2B5EF4-FFF2-40B4-BE49-F238E27FC236}">
                  <a16:creationId xmlns:a16="http://schemas.microsoft.com/office/drawing/2014/main" id="{0248E7D9-8028-2E4E-2B08-FD1AC8BA7CD9}"/>
                </a:ext>
              </a:extLst>
            </p:cNvPr>
            <p:cNvSpPr/>
            <p:nvPr/>
          </p:nvSpPr>
          <p:spPr>
            <a:xfrm>
              <a:off x="12992888" y="5520664"/>
              <a:ext cx="1663172" cy="1663171"/>
            </a:xfrm>
            <a:prstGeom prst="ellipse">
              <a:avLst/>
            </a:prstGeom>
            <a:solidFill>
              <a:srgbClr val="94B9BA">
                <a:lumMod val="60000"/>
                <a:lumOff val="40000"/>
              </a:srgbClr>
            </a:solidFill>
            <a:ln w="25400" cap="flat" cmpd="sng" algn="ctr">
              <a:noFill/>
              <a:prstDash val="solid"/>
            </a:ln>
            <a:effectLst>
              <a:outerShdw blurRad="228600" dist="101600" dir="2340000" algn="l" rotWithShape="0">
                <a:prstClr val="black">
                  <a:alpha val="15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2" name="Oval 5211">
              <a:extLst>
                <a:ext uri="{FF2B5EF4-FFF2-40B4-BE49-F238E27FC236}">
                  <a16:creationId xmlns:a16="http://schemas.microsoft.com/office/drawing/2014/main" id="{764AB4BF-999D-6CA5-DBC9-564272DF7CF1}"/>
                </a:ext>
              </a:extLst>
            </p:cNvPr>
            <p:cNvSpPr/>
            <p:nvPr/>
          </p:nvSpPr>
          <p:spPr>
            <a:xfrm>
              <a:off x="13146029" y="5673804"/>
              <a:ext cx="1356891" cy="1356890"/>
            </a:xfrm>
            <a:prstGeom prst="ellipse">
              <a:avLst/>
            </a:prstGeom>
            <a:solidFill>
              <a:schemeClr val="bg1">
                <a:lumMod val="90000"/>
                <a:lumOff val="10000"/>
              </a:schemeClr>
            </a:solidFill>
            <a:ln w="25400" cap="flat" cmpd="sng" algn="ctr">
              <a:noFill/>
              <a:prstDash val="solid"/>
            </a:ln>
            <a:effectLst>
              <a:outerShdw blurRad="76200" dist="38100" dir="2700000" algn="tl" rotWithShape="0">
                <a:prstClr val="black">
                  <a:alpha val="12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3" name="Rectangle 17">
              <a:extLst>
                <a:ext uri="{FF2B5EF4-FFF2-40B4-BE49-F238E27FC236}">
                  <a16:creationId xmlns:a16="http://schemas.microsoft.com/office/drawing/2014/main" id="{9C5B817F-6F44-AE7E-8BD3-14590859397F}"/>
                </a:ext>
              </a:extLst>
            </p:cNvPr>
            <p:cNvSpPr/>
            <p:nvPr/>
          </p:nvSpPr>
          <p:spPr>
            <a:xfrm rot="16539990">
              <a:off x="13006557" y="4988569"/>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40000"/>
                  <a:lumOff val="6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4" name="Rectangle 17">
              <a:extLst>
                <a:ext uri="{FF2B5EF4-FFF2-40B4-BE49-F238E27FC236}">
                  <a16:creationId xmlns:a16="http://schemas.microsoft.com/office/drawing/2014/main" id="{2A575454-19FF-934B-4C74-6606362959CE}"/>
                </a:ext>
              </a:extLst>
            </p:cNvPr>
            <p:cNvSpPr/>
            <p:nvPr/>
          </p:nvSpPr>
          <p:spPr>
            <a:xfrm rot="15335973">
              <a:off x="14629597" y="7584764"/>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5" name="Rectangle 17">
              <a:extLst>
                <a:ext uri="{FF2B5EF4-FFF2-40B4-BE49-F238E27FC236}">
                  <a16:creationId xmlns:a16="http://schemas.microsoft.com/office/drawing/2014/main" id="{69F30411-0B65-14C9-E757-5112879DE37D}"/>
                </a:ext>
              </a:extLst>
            </p:cNvPr>
            <p:cNvSpPr/>
            <p:nvPr/>
          </p:nvSpPr>
          <p:spPr>
            <a:xfrm rot="11063819">
              <a:off x="16806688" y="789944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6" name="Rectangle 17">
              <a:extLst>
                <a:ext uri="{FF2B5EF4-FFF2-40B4-BE49-F238E27FC236}">
                  <a16:creationId xmlns:a16="http://schemas.microsoft.com/office/drawing/2014/main" id="{10F8D9A1-09AA-890D-6FCE-7A0B13429A5A}"/>
                </a:ext>
              </a:extLst>
            </p:cNvPr>
            <p:cNvSpPr/>
            <p:nvPr/>
          </p:nvSpPr>
          <p:spPr>
            <a:xfrm rot="6841785">
              <a:off x="17625075" y="569519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7" name="Rectangle 17">
              <a:extLst>
                <a:ext uri="{FF2B5EF4-FFF2-40B4-BE49-F238E27FC236}">
                  <a16:creationId xmlns:a16="http://schemas.microsoft.com/office/drawing/2014/main" id="{7335C97E-E787-95A0-50C3-0A7DEE6B58A7}"/>
                </a:ext>
              </a:extLst>
            </p:cNvPr>
            <p:cNvSpPr/>
            <p:nvPr/>
          </p:nvSpPr>
          <p:spPr>
            <a:xfrm rot="2109194">
              <a:off x="15472269" y="4555165"/>
              <a:ext cx="123694" cy="123694"/>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8" name="Oval 5217">
              <a:extLst>
                <a:ext uri="{FF2B5EF4-FFF2-40B4-BE49-F238E27FC236}">
                  <a16:creationId xmlns:a16="http://schemas.microsoft.com/office/drawing/2014/main" id="{2B7287FA-893A-FB18-DBFD-5B0178BF2A73}"/>
                </a:ext>
              </a:extLst>
            </p:cNvPr>
            <p:cNvSpPr/>
            <p:nvPr/>
          </p:nvSpPr>
          <p:spPr>
            <a:xfrm>
              <a:off x="15530830" y="4914989"/>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19" name="Oval 5218">
              <a:extLst>
                <a:ext uri="{FF2B5EF4-FFF2-40B4-BE49-F238E27FC236}">
                  <a16:creationId xmlns:a16="http://schemas.microsoft.com/office/drawing/2014/main" id="{F4849084-EE53-34F2-086E-2081DAFFBC67}"/>
                </a:ext>
              </a:extLst>
            </p:cNvPr>
            <p:cNvSpPr/>
            <p:nvPr/>
          </p:nvSpPr>
          <p:spPr>
            <a:xfrm>
              <a:off x="15659452" y="7748152"/>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0" name="Oval 5219">
              <a:extLst>
                <a:ext uri="{FF2B5EF4-FFF2-40B4-BE49-F238E27FC236}">
                  <a16:creationId xmlns:a16="http://schemas.microsoft.com/office/drawing/2014/main" id="{40700D75-A4E7-FED1-7101-DAEE07A721AE}"/>
                </a:ext>
              </a:extLst>
            </p:cNvPr>
            <p:cNvSpPr/>
            <p:nvPr/>
          </p:nvSpPr>
          <p:spPr>
            <a:xfrm>
              <a:off x="17128407" y="71351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1" name="Oval 5220">
              <a:extLst>
                <a:ext uri="{FF2B5EF4-FFF2-40B4-BE49-F238E27FC236}">
                  <a16:creationId xmlns:a16="http://schemas.microsoft.com/office/drawing/2014/main" id="{07772290-BC69-6B23-F6D5-AB3697EA22D8}"/>
                </a:ext>
              </a:extLst>
            </p:cNvPr>
            <p:cNvSpPr/>
            <p:nvPr/>
          </p:nvSpPr>
          <p:spPr>
            <a:xfrm>
              <a:off x="17120095" y="5509547"/>
              <a:ext cx="91524" cy="91524"/>
            </a:xfrm>
            <a:prstGeom prst="ellipse">
              <a:avLst/>
            </a:prstGeom>
            <a:solidFill>
              <a:srgbClr val="FFFFFF"/>
            </a:solidFill>
            <a:ln w="25400" cap="flat" cmpd="sng" algn="ctr">
              <a:noFill/>
              <a:prstDash val="solid"/>
            </a:ln>
            <a:effectLst>
              <a:outerShdw blurRad="76200" dist="88900" dir="6420000" sx="90000" sy="90000" kx="-1200000" algn="bl" rotWithShape="0">
                <a:prstClr val="black">
                  <a:alpha val="28000"/>
                </a:prstClr>
              </a:outerShdw>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2" name="Rectangle 5221">
              <a:extLst>
                <a:ext uri="{FF2B5EF4-FFF2-40B4-BE49-F238E27FC236}">
                  <a16:creationId xmlns:a16="http://schemas.microsoft.com/office/drawing/2014/main" id="{6F037D4C-3AEE-0D7E-1D1E-C4D7B6659CA0}"/>
                </a:ext>
              </a:extLst>
            </p:cNvPr>
            <p:cNvSpPr/>
            <p:nvPr/>
          </p:nvSpPr>
          <p:spPr>
            <a:xfrm>
              <a:off x="15348497" y="5838702"/>
              <a:ext cx="1269765" cy="943454"/>
            </a:xfrm>
            <a:prstGeom prst="rect">
              <a:avLst/>
            </a:prstGeom>
          </p:spPr>
          <p:txBody>
            <a:bodyPr wrap="square" lIns="0" rIns="0" anchor="t">
              <a:spAutoFit/>
            </a:bodyPr>
            <a:lstStyle/>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Decision  </a:t>
              </a:r>
            </a:p>
            <a:p>
              <a:pPr algn="ctr" defTabSz="609494">
                <a:lnSpc>
                  <a:spcPct val="110000"/>
                </a:lnSpc>
                <a:defRPr/>
              </a:pPr>
              <a:r>
                <a:rPr lang="en-IN" sz="1000">
                  <a:solidFill>
                    <a:srgbClr val="0078D4">
                      <a:lumMod val="40000"/>
                      <a:lumOff val="60000"/>
                    </a:srgbClr>
                  </a:solidFill>
                  <a:latin typeface="Roboto" panose="02000000000000000000" pitchFamily="2" charset="0"/>
                  <a:ea typeface="Roboto" panose="02000000000000000000" pitchFamily="2" charset="0"/>
                  <a:cs typeface="Roboto" panose="02000000000000000000" pitchFamily="2" charset="0"/>
                  <a:sym typeface="Helvetica Neue"/>
                </a:rPr>
                <a:t>Business  Users  </a:t>
              </a:r>
            </a:p>
          </p:txBody>
        </p:sp>
        <p:sp>
          <p:nvSpPr>
            <p:cNvPr id="5223" name="Rectangle 5222">
              <a:extLst>
                <a:ext uri="{FF2B5EF4-FFF2-40B4-BE49-F238E27FC236}">
                  <a16:creationId xmlns:a16="http://schemas.microsoft.com/office/drawing/2014/main" id="{FADDBB3D-E02B-0F65-8B74-8D939F597E22}"/>
                </a:ext>
              </a:extLst>
            </p:cNvPr>
            <p:cNvSpPr/>
            <p:nvPr/>
          </p:nvSpPr>
          <p:spPr>
            <a:xfrm>
              <a:off x="13394181" y="6170103"/>
              <a:ext cx="915014" cy="351129"/>
            </a:xfrm>
            <a:prstGeom prst="rect">
              <a:avLst/>
            </a:prstGeom>
          </p:spPr>
          <p:txBody>
            <a:bodyPr wrap="square" lIns="0" rIns="0" anchor="ctr">
              <a:spAutoFit/>
            </a:bodyPr>
            <a:lstStyle/>
            <a:p>
              <a:pPr algn="ctr" defTabSz="609494">
                <a:lnSpc>
                  <a:spcPct val="110000"/>
                </a:lnSpc>
                <a:defRPr/>
              </a:pPr>
              <a:r>
                <a:rPr lang="en-IN" sz="8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t>
              </a:r>
            </a:p>
          </p:txBody>
        </p:sp>
        <p:sp>
          <p:nvSpPr>
            <p:cNvPr id="5224" name="Rectangle 5223">
              <a:extLst>
                <a:ext uri="{FF2B5EF4-FFF2-40B4-BE49-F238E27FC236}">
                  <a16:creationId xmlns:a16="http://schemas.microsoft.com/office/drawing/2014/main" id="{936901C7-F887-982A-9513-704DDED0940F}"/>
                </a:ext>
              </a:extLst>
            </p:cNvPr>
            <p:cNvSpPr/>
            <p:nvPr/>
          </p:nvSpPr>
          <p:spPr>
            <a:xfrm>
              <a:off x="15109028" y="4007263"/>
              <a:ext cx="2084008" cy="567713"/>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Interact with the GenAI powered App</a:t>
              </a:r>
            </a:p>
          </p:txBody>
        </p:sp>
        <p:sp>
          <p:nvSpPr>
            <p:cNvPr id="5225" name="Rectangle 5224">
              <a:extLst>
                <a:ext uri="{FF2B5EF4-FFF2-40B4-BE49-F238E27FC236}">
                  <a16:creationId xmlns:a16="http://schemas.microsoft.com/office/drawing/2014/main" id="{C0DC00F1-5E52-A756-D8CD-6AE79B3ED9A1}"/>
                </a:ext>
              </a:extLst>
            </p:cNvPr>
            <p:cNvSpPr/>
            <p:nvPr/>
          </p:nvSpPr>
          <p:spPr>
            <a:xfrm>
              <a:off x="16581407" y="8132341"/>
              <a:ext cx="1471600" cy="351129"/>
            </a:xfrm>
            <a:prstGeom prst="rect">
              <a:avLst/>
            </a:prstGeom>
          </p:spPr>
          <p:txBody>
            <a:bodyPr wrap="square" lIns="0" rIns="0" anchor="t">
              <a:spAutoFit/>
            </a:bodyPr>
            <a:lstStyle/>
            <a:p>
              <a:pPr defTabSz="609494">
                <a:lnSpc>
                  <a:spcPct val="110000"/>
                </a:lnSpc>
                <a:defRPr/>
              </a:pP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Make </a:t>
              </a: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decision</a:t>
              </a:r>
              <a:r>
                <a:rPr lang="en-IN" sz="7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sp>
          <p:nvSpPr>
            <p:cNvPr id="5226" name="Rectangle 5225">
              <a:extLst>
                <a:ext uri="{FF2B5EF4-FFF2-40B4-BE49-F238E27FC236}">
                  <a16:creationId xmlns:a16="http://schemas.microsoft.com/office/drawing/2014/main" id="{1A4B7D4C-D67E-A6E0-34A5-0BB17A386645}"/>
                </a:ext>
              </a:extLst>
            </p:cNvPr>
            <p:cNvSpPr/>
            <p:nvPr/>
          </p:nvSpPr>
          <p:spPr>
            <a:xfrm>
              <a:off x="17871223" y="5673804"/>
              <a:ext cx="1566198" cy="351129"/>
            </a:xfrm>
            <a:prstGeom prst="rect">
              <a:avLst/>
            </a:prstGeom>
          </p:spPr>
          <p:txBody>
            <a:bodyPr wrap="square" lIns="0" rIns="0" anchor="t">
              <a:spAutoFit/>
            </a:bodyPr>
            <a:lstStyle/>
            <a:p>
              <a:pP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Evaluate &amp; Feedback</a:t>
              </a:r>
            </a:p>
          </p:txBody>
        </p:sp>
      </p:grpSp>
      <p:sp>
        <p:nvSpPr>
          <p:cNvPr id="5228" name="Rectangle 17">
            <a:extLst>
              <a:ext uri="{FF2B5EF4-FFF2-40B4-BE49-F238E27FC236}">
                <a16:creationId xmlns:a16="http://schemas.microsoft.com/office/drawing/2014/main" id="{D79967BB-8FEE-7B95-6842-D73157439997}"/>
              </a:ext>
            </a:extLst>
          </p:cNvPr>
          <p:cNvSpPr/>
          <p:nvPr/>
        </p:nvSpPr>
        <p:spPr>
          <a:xfrm rot="5400000">
            <a:off x="9011145" y="2940465"/>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29" name="Rectangle 17">
            <a:extLst>
              <a:ext uri="{FF2B5EF4-FFF2-40B4-BE49-F238E27FC236}">
                <a16:creationId xmlns:a16="http://schemas.microsoft.com/office/drawing/2014/main" id="{296D0A66-3D71-3121-2803-8BB567B45B14}"/>
              </a:ext>
            </a:extLst>
          </p:cNvPr>
          <p:cNvSpPr/>
          <p:nvPr/>
        </p:nvSpPr>
        <p:spPr>
          <a:xfrm rot="12249195">
            <a:off x="8782545" y="4090091"/>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0" name="Rectangle 17">
            <a:extLst>
              <a:ext uri="{FF2B5EF4-FFF2-40B4-BE49-F238E27FC236}">
                <a16:creationId xmlns:a16="http://schemas.microsoft.com/office/drawing/2014/main" id="{96464880-EA01-7300-5529-ACF248A06D2B}"/>
              </a:ext>
            </a:extLst>
          </p:cNvPr>
          <p:cNvSpPr/>
          <p:nvPr/>
        </p:nvSpPr>
        <p:spPr>
          <a:xfrm rot="19682918">
            <a:off x="8063616" y="3331404"/>
            <a:ext cx="77341" cy="77303"/>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1" name="Right Arrow 32">
            <a:extLst>
              <a:ext uri="{FF2B5EF4-FFF2-40B4-BE49-F238E27FC236}">
                <a16:creationId xmlns:a16="http://schemas.microsoft.com/office/drawing/2014/main" id="{3C876B8F-066B-B14F-9626-59900ECAC8B1}"/>
              </a:ext>
            </a:extLst>
          </p:cNvPr>
          <p:cNvSpPr/>
          <p:nvPr/>
        </p:nvSpPr>
        <p:spPr>
          <a:xfrm>
            <a:off x="2423963" y="5285141"/>
            <a:ext cx="7586597" cy="266344"/>
          </a:xfrm>
          <a:prstGeom prst="rightArrow">
            <a:avLst>
              <a:gd name="adj1" fmla="val 57984"/>
              <a:gd name="adj2" fmla="val 86642"/>
            </a:avLst>
          </a:prstGeom>
          <a:gradFill>
            <a:gsLst>
              <a:gs pos="100000">
                <a:srgbClr val="642B9F"/>
              </a:gs>
              <a:gs pos="0">
                <a:srgbClr val="000099"/>
              </a:gs>
              <a:gs pos="0">
                <a:scrgbClr r="0" g="0" b="0"/>
              </a:gs>
              <a:gs pos="0">
                <a:schemeClr val="accent3">
                  <a:lumMod val="50000"/>
                </a:schemeClr>
              </a:gs>
            </a:gsLst>
            <a:lin ang="2439039" scaled="0"/>
          </a:gradFill>
          <a:ln w="12700" cap="flat">
            <a:noFill/>
            <a:miter lim="400000"/>
          </a:ln>
          <a:effectLst/>
          <a:sp3d/>
        </p:spPr>
        <p:txBody>
          <a:bodyPr rot="0" spcFirstLastPara="1" vertOverflow="overflow" horzOverflow="overflow" vert="horz" wrap="square" lIns="0" tIns="0" rIns="0" bIns="0" numCol="1" spcCol="38100" rtlCol="0" anchor="ctr">
            <a:noAutofit/>
          </a:bodyPr>
          <a:lstStyle/>
          <a:p>
            <a:pPr algn="ctr" defTabSz="457200">
              <a:defRPr/>
            </a:pPr>
            <a:endParaRPr lang="en-US" sz="16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Medium"/>
            </a:endParaRPr>
          </a:p>
        </p:txBody>
      </p:sp>
      <p:sp>
        <p:nvSpPr>
          <p:cNvPr id="5232" name="TextBox 5231">
            <a:extLst>
              <a:ext uri="{FF2B5EF4-FFF2-40B4-BE49-F238E27FC236}">
                <a16:creationId xmlns:a16="http://schemas.microsoft.com/office/drawing/2014/main" id="{826D972D-BC8D-B7CE-CAA7-38E3CCE6611E}"/>
              </a:ext>
            </a:extLst>
          </p:cNvPr>
          <p:cNvSpPr txBox="1"/>
          <p:nvPr/>
        </p:nvSpPr>
        <p:spPr>
          <a:xfrm>
            <a:off x="2479068" y="5519742"/>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3" name="TextBox 5232">
            <a:extLst>
              <a:ext uri="{FF2B5EF4-FFF2-40B4-BE49-F238E27FC236}">
                <a16:creationId xmlns:a16="http://schemas.microsoft.com/office/drawing/2014/main" id="{020EA124-9D23-F181-6C13-0A2FDF6681F1}"/>
              </a:ext>
            </a:extLst>
          </p:cNvPr>
          <p:cNvSpPr txBox="1"/>
          <p:nvPr/>
        </p:nvSpPr>
        <p:spPr>
          <a:xfrm>
            <a:off x="5989186"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IT</a:t>
            </a:r>
          </a:p>
        </p:txBody>
      </p:sp>
      <p:sp>
        <p:nvSpPr>
          <p:cNvPr id="5234" name="TextBox 5233">
            <a:extLst>
              <a:ext uri="{FF2B5EF4-FFF2-40B4-BE49-F238E27FC236}">
                <a16:creationId xmlns:a16="http://schemas.microsoft.com/office/drawing/2014/main" id="{EF9F4CB1-DAF5-97D8-89FE-E72217E1E69B}"/>
              </a:ext>
            </a:extLst>
          </p:cNvPr>
          <p:cNvSpPr txBox="1"/>
          <p:nvPr/>
        </p:nvSpPr>
        <p:spPr>
          <a:xfrm>
            <a:off x="8875763" y="5518864"/>
            <a:ext cx="809116" cy="269304"/>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defTabSz="457200">
              <a:lnSpc>
                <a:spcPts val="1650"/>
              </a:lnSpc>
              <a:defRPr/>
            </a:pPr>
            <a:r>
              <a:rPr lang="en-US" sz="14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siness </a:t>
            </a:r>
          </a:p>
        </p:txBody>
      </p:sp>
      <p:sp>
        <p:nvSpPr>
          <p:cNvPr id="5235" name="Rectangle 5234">
            <a:extLst>
              <a:ext uri="{FF2B5EF4-FFF2-40B4-BE49-F238E27FC236}">
                <a16:creationId xmlns:a16="http://schemas.microsoft.com/office/drawing/2014/main" id="{73A362D0-BB94-7A74-DECB-CE2E53DC9A02}"/>
              </a:ext>
            </a:extLst>
          </p:cNvPr>
          <p:cNvSpPr/>
          <p:nvPr/>
        </p:nvSpPr>
        <p:spPr>
          <a:xfrm>
            <a:off x="7666157" y="4637373"/>
            <a:ext cx="978792" cy="251351"/>
          </a:xfrm>
          <a:prstGeom prst="rect">
            <a:avLst/>
          </a:prstGeom>
        </p:spPr>
        <p:txBody>
          <a:bodyPr wrap="square" lIns="0" rIns="0" anchor="t">
            <a:spAutoFit/>
          </a:bodyPr>
          <a:lstStyle/>
          <a:p>
            <a:pP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ry new ideas</a:t>
            </a:r>
          </a:p>
        </p:txBody>
      </p:sp>
      <p:sp>
        <p:nvSpPr>
          <p:cNvPr id="5236" name="Rectangle 5235">
            <a:extLst>
              <a:ext uri="{FF2B5EF4-FFF2-40B4-BE49-F238E27FC236}">
                <a16:creationId xmlns:a16="http://schemas.microsoft.com/office/drawing/2014/main" id="{5B5DC0DC-3C28-010B-973B-AF109A62D2C7}"/>
              </a:ext>
            </a:extLst>
          </p:cNvPr>
          <p:cNvSpPr/>
          <p:nvPr/>
        </p:nvSpPr>
        <p:spPr>
          <a:xfrm>
            <a:off x="4979471" y="2254850"/>
            <a:ext cx="1209206" cy="219547"/>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Update app </a:t>
            </a:r>
          </a:p>
        </p:txBody>
      </p:sp>
      <p:sp>
        <p:nvSpPr>
          <p:cNvPr id="5237" name="Rectangle 5236">
            <a:extLst>
              <a:ext uri="{FF2B5EF4-FFF2-40B4-BE49-F238E27FC236}">
                <a16:creationId xmlns:a16="http://schemas.microsoft.com/office/drawing/2014/main" id="{7DC8C29D-1A1B-140A-A0F5-B3D576300C35}"/>
              </a:ext>
            </a:extLst>
          </p:cNvPr>
          <p:cNvSpPr/>
          <p:nvPr/>
        </p:nvSpPr>
        <p:spPr>
          <a:xfrm>
            <a:off x="5624090" y="4750709"/>
            <a:ext cx="89341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Build &amp; Package</a:t>
            </a:r>
          </a:p>
        </p:txBody>
      </p:sp>
      <p:sp>
        <p:nvSpPr>
          <p:cNvPr id="5238" name="Rectangle 17">
            <a:extLst>
              <a:ext uri="{FF2B5EF4-FFF2-40B4-BE49-F238E27FC236}">
                <a16:creationId xmlns:a16="http://schemas.microsoft.com/office/drawing/2014/main" id="{D1CBEAD5-4F6D-551A-782B-FB8DD52F8740}"/>
              </a:ext>
            </a:extLst>
          </p:cNvPr>
          <p:cNvSpPr/>
          <p:nvPr/>
        </p:nvSpPr>
        <p:spPr>
          <a:xfrm rot="998058">
            <a:off x="6626599" y="452014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39" name="Rectangle 5238">
            <a:extLst>
              <a:ext uri="{FF2B5EF4-FFF2-40B4-BE49-F238E27FC236}">
                <a16:creationId xmlns:a16="http://schemas.microsoft.com/office/drawing/2014/main" id="{CDC06699-6983-964B-C51B-94E84D503280}"/>
              </a:ext>
            </a:extLst>
          </p:cNvPr>
          <p:cNvSpPr/>
          <p:nvPr/>
        </p:nvSpPr>
        <p:spPr>
          <a:xfrm>
            <a:off x="6480191" y="4621580"/>
            <a:ext cx="608552" cy="203645"/>
          </a:xfrm>
          <a:prstGeom prst="rect">
            <a:avLst/>
          </a:prstGeom>
        </p:spPr>
        <p:txBody>
          <a:bodyPr wrap="square" lIns="0" rIns="0" anchor="t">
            <a:spAutoFit/>
          </a:bodyPr>
          <a:lstStyle/>
          <a:p>
            <a:pPr algn="ctr" defTabSz="609494">
              <a:lnSpc>
                <a:spcPct val="110000"/>
              </a:lnSpc>
              <a:defRPr/>
            </a:pPr>
            <a:r>
              <a:rPr lang="en-IN" sz="7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est the app </a:t>
            </a:r>
          </a:p>
        </p:txBody>
      </p:sp>
      <p:sp>
        <p:nvSpPr>
          <p:cNvPr id="5240" name="Rectangle 17">
            <a:extLst>
              <a:ext uri="{FF2B5EF4-FFF2-40B4-BE49-F238E27FC236}">
                <a16:creationId xmlns:a16="http://schemas.microsoft.com/office/drawing/2014/main" id="{A9252E4B-5A30-27B6-EEAA-04B6C6B8B461}"/>
              </a:ext>
            </a:extLst>
          </p:cNvPr>
          <p:cNvSpPr/>
          <p:nvPr/>
        </p:nvSpPr>
        <p:spPr>
          <a:xfrm rot="21154364">
            <a:off x="7067235" y="4075573"/>
            <a:ext cx="77302" cy="77341"/>
          </a:xfrm>
          <a:custGeom>
            <a:avLst/>
            <a:gdLst>
              <a:gd name="connsiteX0" fmla="*/ 0 w 380216"/>
              <a:gd name="connsiteY0" fmla="*/ 0 h 380216"/>
              <a:gd name="connsiteX1" fmla="*/ 380216 w 380216"/>
              <a:gd name="connsiteY1" fmla="*/ 0 h 380216"/>
              <a:gd name="connsiteX2" fmla="*/ 380216 w 380216"/>
              <a:gd name="connsiteY2" fmla="*/ 380216 h 380216"/>
              <a:gd name="connsiteX3" fmla="*/ 0 w 380216"/>
              <a:gd name="connsiteY3" fmla="*/ 380216 h 380216"/>
              <a:gd name="connsiteX4" fmla="*/ 0 w 380216"/>
              <a:gd name="connsiteY4" fmla="*/ 0 h 380216"/>
              <a:gd name="connsiteX0" fmla="*/ 0 w 380216"/>
              <a:gd name="connsiteY0" fmla="*/ 380216 h 471656"/>
              <a:gd name="connsiteX1" fmla="*/ 0 w 380216"/>
              <a:gd name="connsiteY1" fmla="*/ 0 h 471656"/>
              <a:gd name="connsiteX2" fmla="*/ 380216 w 380216"/>
              <a:gd name="connsiteY2" fmla="*/ 0 h 471656"/>
              <a:gd name="connsiteX3" fmla="*/ 380216 w 380216"/>
              <a:gd name="connsiteY3" fmla="*/ 380216 h 471656"/>
              <a:gd name="connsiteX4" fmla="*/ 91440 w 380216"/>
              <a:gd name="connsiteY4" fmla="*/ 471656 h 471656"/>
              <a:gd name="connsiteX0" fmla="*/ 0 w 380216"/>
              <a:gd name="connsiteY0" fmla="*/ 380216 h 380216"/>
              <a:gd name="connsiteX1" fmla="*/ 0 w 380216"/>
              <a:gd name="connsiteY1" fmla="*/ 0 h 380216"/>
              <a:gd name="connsiteX2" fmla="*/ 380216 w 380216"/>
              <a:gd name="connsiteY2" fmla="*/ 0 h 380216"/>
              <a:gd name="connsiteX3" fmla="*/ 380216 w 380216"/>
              <a:gd name="connsiteY3" fmla="*/ 380216 h 380216"/>
              <a:gd name="connsiteX0" fmla="*/ 0 w 380216"/>
              <a:gd name="connsiteY0" fmla="*/ 0 h 380216"/>
              <a:gd name="connsiteX1" fmla="*/ 380216 w 380216"/>
              <a:gd name="connsiteY1" fmla="*/ 0 h 380216"/>
              <a:gd name="connsiteX2" fmla="*/ 380216 w 380216"/>
              <a:gd name="connsiteY2" fmla="*/ 380216 h 380216"/>
            </a:gdLst>
            <a:ahLst/>
            <a:cxnLst>
              <a:cxn ang="0">
                <a:pos x="connsiteX0" y="connsiteY0"/>
              </a:cxn>
              <a:cxn ang="0">
                <a:pos x="connsiteX1" y="connsiteY1"/>
              </a:cxn>
              <a:cxn ang="0">
                <a:pos x="connsiteX2" y="connsiteY2"/>
              </a:cxn>
            </a:cxnLst>
            <a:rect l="l" t="t" r="r" b="b"/>
            <a:pathLst>
              <a:path w="380216" h="380216">
                <a:moveTo>
                  <a:pt x="0" y="0"/>
                </a:moveTo>
                <a:lnTo>
                  <a:pt x="380216" y="0"/>
                </a:lnTo>
                <a:lnTo>
                  <a:pt x="380216" y="380216"/>
                </a:lnTo>
              </a:path>
            </a:pathLst>
          </a:custGeom>
          <a:noFill/>
          <a:ln w="63500" cap="rnd" cmpd="sng" algn="ctr">
            <a:solidFill>
              <a:schemeClr val="accent3">
                <a:lumMod val="20000"/>
                <a:lumOff val="80000"/>
              </a:schemeClr>
            </a:solidFill>
            <a:prstDash val="solid"/>
          </a:ln>
          <a:effectLst/>
        </p:spPr>
        <p:txBody>
          <a:bodyPr rtlCol="0" anchor="ctr"/>
          <a:lstStyle/>
          <a:p>
            <a:pPr algn="ctr" defTabSz="609494">
              <a:defRPr/>
            </a:pPr>
            <a:endParaRPr lang="en-IN" sz="120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5241" name="Rectangle 5240">
            <a:extLst>
              <a:ext uri="{FF2B5EF4-FFF2-40B4-BE49-F238E27FC236}">
                <a16:creationId xmlns:a16="http://schemas.microsoft.com/office/drawing/2014/main" id="{364118B9-7416-7A83-AA0E-F34049A94C1C}"/>
              </a:ext>
            </a:extLst>
          </p:cNvPr>
          <p:cNvSpPr/>
          <p:nvPr/>
        </p:nvSpPr>
        <p:spPr>
          <a:xfrm>
            <a:off x="7147021" y="4117570"/>
            <a:ext cx="608552" cy="420628"/>
          </a:xfrm>
          <a:prstGeom prst="rect">
            <a:avLst/>
          </a:prstGeom>
        </p:spPr>
        <p:txBody>
          <a:bodyPr wrap="square" lIns="0" rIns="0" anchor="t">
            <a:spAutoFit/>
          </a:bodyPr>
          <a:lstStyle/>
          <a:p>
            <a:pPr algn="ctr" defTabSz="609494">
              <a:lnSpc>
                <a:spcPct val="110000"/>
              </a:lnSpc>
              <a:defRPr/>
            </a:pPr>
            <a:r>
              <a:rPr lang="en-IN" sz="10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Release app</a:t>
            </a:r>
          </a:p>
        </p:txBody>
      </p:sp>
      <p:sp>
        <p:nvSpPr>
          <p:cNvPr id="5242" name="Rectangle 5241">
            <a:extLst>
              <a:ext uri="{FF2B5EF4-FFF2-40B4-BE49-F238E27FC236}">
                <a16:creationId xmlns:a16="http://schemas.microsoft.com/office/drawing/2014/main" id="{E4D2EBC7-DD55-0FE2-388A-13F25789A0D9}"/>
              </a:ext>
            </a:extLst>
          </p:cNvPr>
          <p:cNvSpPr/>
          <p:nvPr/>
        </p:nvSpPr>
        <p:spPr>
          <a:xfrm>
            <a:off x="4087409" y="2342446"/>
            <a:ext cx="786127" cy="354969"/>
          </a:xfrm>
          <a:prstGeom prst="rect">
            <a:avLst/>
          </a:prstGeom>
        </p:spPr>
        <p:txBody>
          <a:bodyPr wrap="square" lIns="0" rIns="0" anchor="t">
            <a:spAutoFit/>
          </a:bodyPr>
          <a:lstStyle/>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lign with </a:t>
            </a:r>
          </a:p>
          <a:p>
            <a:pPr algn="ctr" defTabSz="609494">
              <a:lnSpc>
                <a:spcPct val="110000"/>
              </a:lnSpc>
              <a:defRPr/>
            </a:pPr>
            <a:r>
              <a:rPr lang="en-IN" sz="800" b="1">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the dev team </a:t>
            </a:r>
          </a:p>
        </p:txBody>
      </p:sp>
      <p:sp>
        <p:nvSpPr>
          <p:cNvPr id="5243" name="Rectangle 5242">
            <a:extLst>
              <a:ext uri="{FF2B5EF4-FFF2-40B4-BE49-F238E27FC236}">
                <a16:creationId xmlns:a16="http://schemas.microsoft.com/office/drawing/2014/main" id="{5947954F-7105-DD7D-D3E6-0899ACB74044}"/>
              </a:ext>
            </a:extLst>
          </p:cNvPr>
          <p:cNvSpPr/>
          <p:nvPr/>
        </p:nvSpPr>
        <p:spPr>
          <a:xfrm>
            <a:off x="6833791" y="2366155"/>
            <a:ext cx="1209206"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Analyse feedback </a:t>
            </a:r>
          </a:p>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Prioritise new ideas </a:t>
            </a:r>
          </a:p>
        </p:txBody>
      </p:sp>
      <p:sp>
        <p:nvSpPr>
          <p:cNvPr id="5244" name="Rectangle 5243">
            <a:extLst>
              <a:ext uri="{FF2B5EF4-FFF2-40B4-BE49-F238E27FC236}">
                <a16:creationId xmlns:a16="http://schemas.microsoft.com/office/drawing/2014/main" id="{600E8DDC-1984-915B-19DD-511BAD886D84}"/>
              </a:ext>
            </a:extLst>
          </p:cNvPr>
          <p:cNvSpPr/>
          <p:nvPr/>
        </p:nvSpPr>
        <p:spPr>
          <a:xfrm>
            <a:off x="1907474" y="2452263"/>
            <a:ext cx="893914" cy="354969"/>
          </a:xfrm>
          <a:prstGeom prst="rect">
            <a:avLst/>
          </a:prstGeom>
        </p:spPr>
        <p:txBody>
          <a:bodyPr wrap="square" lIns="0" rIns="0" anchor="t">
            <a:spAutoFit/>
          </a:bodyPr>
          <a:lstStyle/>
          <a:p>
            <a:pPr algn="ctr" defTabSz="609494">
              <a:lnSpc>
                <a:spcPct val="110000"/>
              </a:lnSpc>
              <a:defRPr/>
            </a:pPr>
            <a:r>
              <a:rPr lang="en-IN" sz="800">
                <a:solidFill>
                  <a:srgbClr val="E8E6DF">
                    <a:lumMod val="75000"/>
                  </a:srgbClr>
                </a:solidFill>
                <a:latin typeface="Roboto" panose="02000000000000000000" pitchFamily="2" charset="0"/>
                <a:ea typeface="Roboto" panose="02000000000000000000" pitchFamily="2" charset="0"/>
                <a:cs typeface="Roboto" panose="02000000000000000000" pitchFamily="2" charset="0"/>
                <a:sym typeface="Helvetica Neue"/>
              </a:rPr>
              <a:t>Satisfying outcomes</a:t>
            </a:r>
          </a:p>
        </p:txBody>
      </p:sp>
    </p:spTree>
    <p:extLst>
      <p:ext uri="{BB962C8B-B14F-4D97-AF65-F5344CB8AC3E}">
        <p14:creationId xmlns:p14="http://schemas.microsoft.com/office/powerpoint/2010/main" val="80901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16594FF-484D-BC2E-16B9-FFDC11634BC0}"/>
              </a:ext>
            </a:extLst>
          </p:cNvPr>
          <p:cNvSpPr txBox="1"/>
          <p:nvPr/>
        </p:nvSpPr>
        <p:spPr>
          <a:xfrm>
            <a:off x="82297" y="100640"/>
            <a:ext cx="11612747" cy="8720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1: NLP/PLU: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all center’s conversation summarization, sentiment analysis, and structured transcription</a:t>
            </a:r>
            <a:endParaRPr lang="en-US" sz="30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8" name="TextBox 7">
            <a:extLst>
              <a:ext uri="{FF2B5EF4-FFF2-40B4-BE49-F238E27FC236}">
                <a16:creationId xmlns:a16="http://schemas.microsoft.com/office/drawing/2014/main" id="{B5398EB8-AB27-8BAB-3C0B-8C6BED18E065}"/>
              </a:ext>
            </a:extLst>
          </p:cNvPr>
          <p:cNvSpPr txBox="1"/>
          <p:nvPr/>
        </p:nvSpPr>
        <p:spPr>
          <a:xfrm>
            <a:off x="397124" y="1948978"/>
            <a:ext cx="5063876" cy="4483279"/>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thes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odels</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 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9" name="Rectangle 8">
            <a:extLst>
              <a:ext uri="{FF2B5EF4-FFF2-40B4-BE49-F238E27FC236}">
                <a16:creationId xmlns:a16="http://schemas.microsoft.com/office/drawing/2014/main" id="{BD36543B-C37A-EF82-1E1C-EA2AEC7498D7}"/>
              </a:ext>
            </a:extLst>
          </p:cNvPr>
          <p:cNvSpPr/>
          <p:nvPr/>
        </p:nvSpPr>
        <p:spPr bwMode="auto">
          <a:xfrm>
            <a:off x="45427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0" name="TextBox 9">
            <a:extLst>
              <a:ext uri="{FF2B5EF4-FFF2-40B4-BE49-F238E27FC236}">
                <a16:creationId xmlns:a16="http://schemas.microsoft.com/office/drawing/2014/main" id="{994E6271-FE04-993B-5531-E2A1736C80BB}"/>
              </a:ext>
            </a:extLst>
          </p:cNvPr>
          <p:cNvSpPr txBox="1"/>
          <p:nvPr/>
        </p:nvSpPr>
        <p:spPr>
          <a:xfrm>
            <a:off x="2547954" y="1340672"/>
            <a:ext cx="8765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BEFORE</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
        <p:nvSpPr>
          <p:cNvPr id="11" name="TextBox 10">
            <a:extLst>
              <a:ext uri="{FF2B5EF4-FFF2-40B4-BE49-F238E27FC236}">
                <a16:creationId xmlns:a16="http://schemas.microsoft.com/office/drawing/2014/main" id="{8C792086-0253-33CD-C596-32B7760F5973}"/>
              </a:ext>
            </a:extLst>
          </p:cNvPr>
          <p:cNvSpPr txBox="1"/>
          <p:nvPr/>
        </p:nvSpPr>
        <p:spPr>
          <a:xfrm>
            <a:off x="6283575" y="2041657"/>
            <a:ext cx="5152689" cy="4113947"/>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ctr">
            <a:spAutoFit/>
          </a:bodyPr>
          <a:lstStyle/>
          <a:p>
            <a:pPr marL="142875" indent="-142875" defTabSz="457200">
              <a:lnSpc>
                <a:spcPct val="150000"/>
              </a:lnSpc>
              <a:buFont typeface="Arial" panose="020B0604020202020204" pitchFamily="34" charset="0"/>
              <a:buChar char="•"/>
            </a:pPr>
            <a:r>
              <a:rPr lang="en-US" sz="1600" b="1"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Specialized NLP Model Development: </a:t>
            </a:r>
            <a:r>
              <a:rPr lang="en-US" sz="1600" strike="sngStrike" kern="0">
                <a:solidFill>
                  <a:srgbClr val="999999"/>
                </a:solidFill>
                <a:highlight>
                  <a:srgbClr val="3D4455"/>
                </a:highlight>
                <a:latin typeface="Roboto" panose="02000000000000000000" pitchFamily="2" charset="0"/>
                <a:ea typeface="Roboto" panose="02000000000000000000" pitchFamily="2" charset="0"/>
                <a:cs typeface="Roboto" panose="02000000000000000000" pitchFamily="2" charset="0"/>
                <a:sym typeface="Helvetica Neue"/>
              </a:rPr>
              <a:t>The data science team develops, deploys, and maintains machine learning models tailored for individual NLP tasks such as depersonalization, contact classification, and emotion detection.</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sight Extraction from Communication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Chats, call transcripts, and emails are analyzed using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GenAI/Azure</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OpenAI</a:t>
            </a:r>
            <a:r>
              <a:rPr lang="en-US" sz="1600" b="1" kern="0">
                <a:solidFill>
                  <a:srgbClr val="FFC000"/>
                </a:solidFill>
                <a:latin typeface="Roboto" panose="02000000000000000000" pitchFamily="2" charset="0"/>
                <a:ea typeface="Roboto" panose="02000000000000000000" pitchFamily="2" charset="0"/>
                <a:cs typeface="Roboto" panose="02000000000000000000" pitchFamily="2" charset="0"/>
                <a:sym typeface="Helvetica Neue"/>
              </a:rPr>
              <a:t>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o extract the necessary insights.</a:t>
            </a:r>
          </a:p>
          <a:p>
            <a:pPr marL="142875" indent="-142875" defTabSz="457200">
              <a:lnSpc>
                <a:spcPct val="150000"/>
              </a:lnSpc>
              <a:buFont typeface="Arial" panose="020B0604020202020204" pitchFamily="34" charset="0"/>
              <a:buChar char="•"/>
            </a:pPr>
            <a:r>
              <a:rPr lang="en-US" sz="1600" b="1"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Integration of Model Outputs: </a:t>
            </a:r>
            <a:r>
              <a:rPr lang="en-US" sz="1600" kern="0">
                <a:solidFill>
                  <a:srgbClr val="999999"/>
                </a:solidFill>
                <a:latin typeface="Roboto" panose="02000000000000000000" pitchFamily="2" charset="0"/>
                <a:ea typeface="Roboto" panose="02000000000000000000" pitchFamily="2" charset="0"/>
                <a:cs typeface="Roboto" panose="02000000000000000000" pitchFamily="2" charset="0"/>
                <a:sym typeface="Helvetica Neue"/>
              </a:rPr>
              <a:t>The insights from these models are made actionable through their integration into operational systems, facilitating informed actions.</a:t>
            </a:r>
          </a:p>
        </p:txBody>
      </p:sp>
      <p:sp>
        <p:nvSpPr>
          <p:cNvPr id="12" name="Rectangle 11">
            <a:extLst>
              <a:ext uri="{FF2B5EF4-FFF2-40B4-BE49-F238E27FC236}">
                <a16:creationId xmlns:a16="http://schemas.microsoft.com/office/drawing/2014/main" id="{D18742C1-DA9C-F71A-F11F-A0C08AA2D174}"/>
              </a:ext>
            </a:extLst>
          </p:cNvPr>
          <p:cNvSpPr/>
          <p:nvPr/>
        </p:nvSpPr>
        <p:spPr bwMode="auto">
          <a:xfrm>
            <a:off x="6213724" y="1301965"/>
            <a:ext cx="5063876" cy="326474"/>
          </a:xfrm>
          <a:prstGeom prst="rect">
            <a:avLst/>
          </a:prstGeom>
          <a:solidFill>
            <a:srgbClr val="6076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t" anchorCtr="0" forceAA="0" compatLnSpc="1">
            <a:prstTxWarp prst="textNoShape">
              <a:avLst/>
            </a:prstTxWarp>
            <a:noAutofit/>
          </a:bodyPr>
          <a:lstStyle/>
          <a:p>
            <a:pPr algn="ctr" defTabSz="466236" fontAlgn="base" hangingPunct="0">
              <a:spcBef>
                <a:spcPct val="0"/>
              </a:spcBef>
              <a:spcAft>
                <a:spcPct val="0"/>
              </a:spcAft>
            </a:pPr>
            <a:endParaRPr lang="en-NL" sz="2000" b="1" kern="0" err="1">
              <a:solidFill>
                <a:srgbClr val="FFC000"/>
              </a:solidFill>
              <a:latin typeface="Segoe UI"/>
              <a:ea typeface="Segoe UI" pitchFamily="34" charset="0"/>
              <a:cs typeface="Segoe UI" pitchFamily="34" charset="0"/>
              <a:sym typeface="Helvetica Neue"/>
            </a:endParaRPr>
          </a:p>
        </p:txBody>
      </p:sp>
      <p:sp>
        <p:nvSpPr>
          <p:cNvPr id="13" name="TextBox 12">
            <a:extLst>
              <a:ext uri="{FF2B5EF4-FFF2-40B4-BE49-F238E27FC236}">
                <a16:creationId xmlns:a16="http://schemas.microsoft.com/office/drawing/2014/main" id="{B762E610-FDB5-3C89-80BF-E1BFEE63BECE}"/>
              </a:ext>
            </a:extLst>
          </p:cNvPr>
          <p:cNvSpPr txBox="1"/>
          <p:nvPr/>
        </p:nvSpPr>
        <p:spPr>
          <a:xfrm>
            <a:off x="8286535" y="1317911"/>
            <a:ext cx="647915" cy="230832"/>
          </a:xfrm>
          <a:prstGeom prst="rect">
            <a:avLst/>
          </a:prstGeom>
          <a:noFill/>
        </p:spPr>
        <p:txBody>
          <a:bodyPr wrap="square" lIns="0" tIns="0" rIns="0" bIns="0" rtlCol="0">
            <a:spAutoFit/>
          </a:bodyPr>
          <a:lstStyle/>
          <a:p>
            <a:pPr defTabSz="412750" hangingPunct="0"/>
            <a:r>
              <a:rPr lang="en-US" sz="15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FTER</a:t>
            </a:r>
            <a:endParaRPr lang="en-NL" sz="1500" b="1" kern="0">
              <a:solidFill>
                <a:srgbClr val="0078D4">
                  <a:lumMod val="60000"/>
                  <a:lumOff val="40000"/>
                </a:srgbClr>
              </a:solidFill>
              <a:latin typeface="Helvetica Neue"/>
              <a:ea typeface="Segoe UI" pitchFamily="34" charset="0"/>
              <a:cs typeface="Segoe UI" pitchFamily="34" charset="0"/>
              <a:sym typeface="Helvetica Neue"/>
            </a:endParaRPr>
          </a:p>
        </p:txBody>
      </p:sp>
    </p:spTree>
    <p:extLst>
      <p:ext uri="{BB962C8B-B14F-4D97-AF65-F5344CB8AC3E}">
        <p14:creationId xmlns:p14="http://schemas.microsoft.com/office/powerpoint/2010/main" val="3711761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anim calcmode="lin" valueType="num">
                                      <p:cBhvr>
                                        <p:cTn id="30" dur="1000" fill="hold"/>
                                        <p:tgtEl>
                                          <p:spTgt spid="12"/>
                                        </p:tgtEl>
                                        <p:attrNameLst>
                                          <p:attrName>ppt_x</p:attrName>
                                        </p:attrNameLst>
                                      </p:cBhvr>
                                      <p:tavLst>
                                        <p:tav tm="0">
                                          <p:val>
                                            <p:strVal val="#ppt_x"/>
                                          </p:val>
                                        </p:tav>
                                        <p:tav tm="100000">
                                          <p:val>
                                            <p:strVal val="#ppt_x"/>
                                          </p:val>
                                        </p:tav>
                                      </p:tavLst>
                                    </p:anim>
                                    <p:anim calcmode="lin" valueType="num">
                                      <p:cBhvr>
                                        <p:cTn id="31" dur="1000" fill="hold"/>
                                        <p:tgtEl>
                                          <p:spTgt spid="12"/>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1" grpId="0"/>
      <p:bldP spid="12" grpId="0" animBg="1"/>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19">
            <a:extLst>
              <a:ext uri="{FF2B5EF4-FFF2-40B4-BE49-F238E27FC236}">
                <a16:creationId xmlns:a16="http://schemas.microsoft.com/office/drawing/2014/main" id="{CFBD2BB8-C653-DAD2-C0F4-E163FCD69D03}"/>
              </a:ext>
            </a:extLst>
          </p:cNvPr>
          <p:cNvSpPr>
            <a:spLocks noChangeArrowheads="1"/>
          </p:cNvSpPr>
          <p:nvPr/>
        </p:nvSpPr>
        <p:spPr bwMode="auto">
          <a:xfrm>
            <a:off x="6250939" y="3429000"/>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3" name="TextBox 2">
            <a:extLst>
              <a:ext uri="{FF2B5EF4-FFF2-40B4-BE49-F238E27FC236}">
                <a16:creationId xmlns:a16="http://schemas.microsoft.com/office/drawing/2014/main" id="{ABFF91B7-19E7-0FC5-EC56-2D46CBAA83B4}"/>
              </a:ext>
            </a:extLst>
          </p:cNvPr>
          <p:cNvSpPr txBox="1"/>
          <p:nvPr/>
        </p:nvSpPr>
        <p:spPr>
          <a:xfrm>
            <a:off x="158497" y="121477"/>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2: Chat with your internal knowledgebase: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AI contract manager </a:t>
            </a:r>
          </a:p>
        </p:txBody>
      </p:sp>
      <p:grpSp>
        <p:nvGrpSpPr>
          <p:cNvPr id="2" name="Group 1">
            <a:extLst>
              <a:ext uri="{FF2B5EF4-FFF2-40B4-BE49-F238E27FC236}">
                <a16:creationId xmlns:a16="http://schemas.microsoft.com/office/drawing/2014/main" id="{42E45598-8236-5AE6-255F-FE1163993273}"/>
              </a:ext>
            </a:extLst>
          </p:cNvPr>
          <p:cNvGrpSpPr/>
          <p:nvPr/>
        </p:nvGrpSpPr>
        <p:grpSpPr>
          <a:xfrm>
            <a:off x="4375059" y="3420836"/>
            <a:ext cx="900000" cy="900000"/>
            <a:chOff x="6207756" y="7121636"/>
            <a:chExt cx="837454" cy="837454"/>
          </a:xfrm>
        </p:grpSpPr>
        <p:sp>
          <p:nvSpPr>
            <p:cNvPr id="4" name="Oval 19">
              <a:extLst>
                <a:ext uri="{FF2B5EF4-FFF2-40B4-BE49-F238E27FC236}">
                  <a16:creationId xmlns:a16="http://schemas.microsoft.com/office/drawing/2014/main" id="{B7EF7A57-0C14-B987-E539-E6E2F108AD15}"/>
                </a:ext>
              </a:extLst>
            </p:cNvPr>
            <p:cNvSpPr>
              <a:spLocks noChangeArrowheads="1"/>
            </p:cNvSpPr>
            <p:nvPr/>
          </p:nvSpPr>
          <p:spPr bwMode="auto">
            <a:xfrm>
              <a:off x="6207756" y="7121636"/>
              <a:ext cx="837454" cy="837454"/>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5" name="Freeform 25">
              <a:extLst>
                <a:ext uri="{FF2B5EF4-FFF2-40B4-BE49-F238E27FC236}">
                  <a16:creationId xmlns:a16="http://schemas.microsoft.com/office/drawing/2014/main" id="{66B6AC46-C207-91DA-04A5-F564377823D7}"/>
                </a:ext>
              </a:extLst>
            </p:cNvPr>
            <p:cNvSpPr>
              <a:spLocks noEditPoints="1"/>
            </p:cNvSpPr>
            <p:nvPr/>
          </p:nvSpPr>
          <p:spPr bwMode="auto">
            <a:xfrm>
              <a:off x="6365307" y="7326026"/>
              <a:ext cx="521359" cy="428673"/>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grpSp>
        <p:nvGrpSpPr>
          <p:cNvPr id="14" name="Group 13">
            <a:extLst>
              <a:ext uri="{FF2B5EF4-FFF2-40B4-BE49-F238E27FC236}">
                <a16:creationId xmlns:a16="http://schemas.microsoft.com/office/drawing/2014/main" id="{D1662F9D-BDAD-CF3C-3A34-E2035B86CC0E}"/>
              </a:ext>
            </a:extLst>
          </p:cNvPr>
          <p:cNvGrpSpPr/>
          <p:nvPr/>
        </p:nvGrpSpPr>
        <p:grpSpPr>
          <a:xfrm>
            <a:off x="2160005" y="3407611"/>
            <a:ext cx="900000" cy="900000"/>
            <a:chOff x="548111" y="6583632"/>
            <a:chExt cx="1070527" cy="1070527"/>
          </a:xfrm>
        </p:grpSpPr>
        <p:sp>
          <p:nvSpPr>
            <p:cNvPr id="8" name="Oval 19">
              <a:extLst>
                <a:ext uri="{FF2B5EF4-FFF2-40B4-BE49-F238E27FC236}">
                  <a16:creationId xmlns:a16="http://schemas.microsoft.com/office/drawing/2014/main" id="{37A1A7C6-F7B4-FD8C-9E56-528794067EAE}"/>
                </a:ext>
              </a:extLst>
            </p:cNvPr>
            <p:cNvSpPr>
              <a:spLocks noChangeArrowheads="1"/>
            </p:cNvSpPr>
            <p:nvPr/>
          </p:nvSpPr>
          <p:spPr bwMode="auto">
            <a:xfrm>
              <a:off x="548111" y="6583632"/>
              <a:ext cx="1070527" cy="1070527"/>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sp>
          <p:nvSpPr>
            <p:cNvPr id="6" name="Freeform 31">
              <a:extLst>
                <a:ext uri="{FF2B5EF4-FFF2-40B4-BE49-F238E27FC236}">
                  <a16:creationId xmlns:a16="http://schemas.microsoft.com/office/drawing/2014/main" id="{7763F5AF-E0E1-5632-0576-6E641EFEE027}"/>
                </a:ext>
              </a:extLst>
            </p:cNvPr>
            <p:cNvSpPr>
              <a:spLocks noEditPoints="1"/>
            </p:cNvSpPr>
            <p:nvPr/>
          </p:nvSpPr>
          <p:spPr bwMode="auto">
            <a:xfrm>
              <a:off x="826618" y="6858000"/>
              <a:ext cx="513515" cy="521792"/>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grpSp>
      <p:cxnSp>
        <p:nvCxnSpPr>
          <p:cNvPr id="11" name="Straight Arrow Connector 10">
            <a:extLst>
              <a:ext uri="{FF2B5EF4-FFF2-40B4-BE49-F238E27FC236}">
                <a16:creationId xmlns:a16="http://schemas.microsoft.com/office/drawing/2014/main" id="{CF67C0C6-1742-690F-0C58-884933AAA876}"/>
              </a:ext>
            </a:extLst>
          </p:cNvPr>
          <p:cNvCxnSpPr>
            <a:cxnSpLocks/>
            <a:stCxn id="8" idx="6"/>
            <a:endCxn id="4" idx="2"/>
          </p:cNvCxnSpPr>
          <p:nvPr/>
        </p:nvCxnSpPr>
        <p:spPr>
          <a:xfrm>
            <a:off x="3060005" y="3857611"/>
            <a:ext cx="1315054" cy="13226"/>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9DEA1CB-149B-FFD4-9199-8C4069A521CC}"/>
              </a:ext>
            </a:extLst>
          </p:cNvPr>
          <p:cNvSpPr txBox="1"/>
          <p:nvPr/>
        </p:nvSpPr>
        <p:spPr>
          <a:xfrm>
            <a:off x="4651000" y="3093458"/>
            <a:ext cx="624059" cy="2769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bot </a:t>
            </a:r>
          </a:p>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Web app</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19" name="Picture 18" descr="A blue and black logo&#10;&#10;Description automatically generated">
            <a:extLst>
              <a:ext uri="{FF2B5EF4-FFF2-40B4-BE49-F238E27FC236}">
                <a16:creationId xmlns:a16="http://schemas.microsoft.com/office/drawing/2014/main" id="{0AA09ABA-8278-BF5A-86D4-B5B8F6FE4CA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50939" y="3438935"/>
            <a:ext cx="900000" cy="900000"/>
          </a:xfrm>
          <a:prstGeom prst="rect">
            <a:avLst/>
          </a:prstGeom>
          <a:noFill/>
          <a:ln>
            <a:noFill/>
          </a:ln>
        </p:spPr>
      </p:pic>
      <p:cxnSp>
        <p:nvCxnSpPr>
          <p:cNvPr id="23" name="Straight Arrow Connector 22">
            <a:extLst>
              <a:ext uri="{FF2B5EF4-FFF2-40B4-BE49-F238E27FC236}">
                <a16:creationId xmlns:a16="http://schemas.microsoft.com/office/drawing/2014/main" id="{670A96DA-F307-072A-EB1B-BD14BDB7FD11}"/>
              </a:ext>
            </a:extLst>
          </p:cNvPr>
          <p:cNvCxnSpPr>
            <a:cxnSpLocks/>
            <a:stCxn id="4" idx="6"/>
            <a:endCxn id="19" idx="1"/>
          </p:cNvCxnSpPr>
          <p:nvPr/>
        </p:nvCxnSpPr>
        <p:spPr>
          <a:xfrm>
            <a:off x="5275059" y="3870836"/>
            <a:ext cx="975880" cy="18099"/>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D0600E4-436F-D88D-B305-741EDBAB2972}"/>
              </a:ext>
            </a:extLst>
          </p:cNvPr>
          <p:cNvCxnSpPr>
            <a:cxnSpLocks/>
          </p:cNvCxnSpPr>
          <p:nvPr/>
        </p:nvCxnSpPr>
        <p:spPr>
          <a:xfrm>
            <a:off x="7150939" y="4059975"/>
            <a:ext cx="1297737" cy="635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Oval 19">
            <a:extLst>
              <a:ext uri="{FF2B5EF4-FFF2-40B4-BE49-F238E27FC236}">
                <a16:creationId xmlns:a16="http://schemas.microsoft.com/office/drawing/2014/main" id="{35FAB7E9-EB59-0FD4-D0EB-714A592A9DC5}"/>
              </a:ext>
            </a:extLst>
          </p:cNvPr>
          <p:cNvSpPr>
            <a:spLocks noChangeArrowheads="1"/>
          </p:cNvSpPr>
          <p:nvPr/>
        </p:nvSpPr>
        <p:spPr bwMode="auto">
          <a:xfrm>
            <a:off x="8448675" y="3405839"/>
            <a:ext cx="900000" cy="9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1026" name="Picture 2" descr="Get Started with Azure Cognitive Search | Adatis">
            <a:extLst>
              <a:ext uri="{FF2B5EF4-FFF2-40B4-BE49-F238E27FC236}">
                <a16:creationId xmlns:a16="http://schemas.microsoft.com/office/drawing/2014/main" id="{A3A06B2E-B8F8-2378-3BEF-0F52EB29E6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74219" y="3491292"/>
            <a:ext cx="630000" cy="630000"/>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56BD3D69-B9B7-F5AD-EE33-BA4250CEE3F9}"/>
              </a:ext>
            </a:extLst>
          </p:cNvPr>
          <p:cNvCxnSpPr>
            <a:cxnSpLocks/>
          </p:cNvCxnSpPr>
          <p:nvPr/>
        </p:nvCxnSpPr>
        <p:spPr>
          <a:xfrm>
            <a:off x="9348675" y="3881268"/>
            <a:ext cx="975880" cy="8164"/>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62" name="Group 1061">
            <a:extLst>
              <a:ext uri="{FF2B5EF4-FFF2-40B4-BE49-F238E27FC236}">
                <a16:creationId xmlns:a16="http://schemas.microsoft.com/office/drawing/2014/main" id="{0BCBDADB-FA00-B2B4-678F-8E7704CA66EA}"/>
              </a:ext>
            </a:extLst>
          </p:cNvPr>
          <p:cNvGrpSpPr/>
          <p:nvPr/>
        </p:nvGrpSpPr>
        <p:grpSpPr>
          <a:xfrm>
            <a:off x="10333085" y="3432629"/>
            <a:ext cx="900000" cy="900000"/>
            <a:chOff x="20666170" y="6865258"/>
            <a:chExt cx="1800000" cy="1800000"/>
          </a:xfrm>
        </p:grpSpPr>
        <p:sp>
          <p:nvSpPr>
            <p:cNvPr id="37" name="Oval 19">
              <a:extLst>
                <a:ext uri="{FF2B5EF4-FFF2-40B4-BE49-F238E27FC236}">
                  <a16:creationId xmlns:a16="http://schemas.microsoft.com/office/drawing/2014/main" id="{0DD7455A-BA4D-6F49-15E5-A67EDD9C4779}"/>
                </a:ext>
              </a:extLst>
            </p:cNvPr>
            <p:cNvSpPr>
              <a:spLocks noChangeArrowheads="1"/>
            </p:cNvSpPr>
            <p:nvPr/>
          </p:nvSpPr>
          <p:spPr bwMode="auto">
            <a:xfrm>
              <a:off x="20666170" y="6865258"/>
              <a:ext cx="1800000" cy="180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endParaRPr lang="en-US" sz="1500" b="1" kern="0">
                <a:solidFill>
                  <a:srgbClr val="000000"/>
                </a:solidFill>
                <a:latin typeface="Helvetica Neue"/>
                <a:sym typeface="Helvetica Neue"/>
              </a:endParaRPr>
            </a:p>
          </p:txBody>
        </p:sp>
        <p:pic>
          <p:nvPicPr>
            <p:cNvPr id="38" name="Picture 37" descr="A blue and black logo&#10;&#10;Description automatically generated">
              <a:extLst>
                <a:ext uri="{FF2B5EF4-FFF2-40B4-BE49-F238E27FC236}">
                  <a16:creationId xmlns:a16="http://schemas.microsoft.com/office/drawing/2014/main" id="{5D580D3B-02CE-97EE-8B7E-AED99E1ABC7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666170" y="6865258"/>
              <a:ext cx="1800000" cy="1800000"/>
            </a:xfrm>
            <a:prstGeom prst="rect">
              <a:avLst/>
            </a:prstGeom>
            <a:noFill/>
            <a:ln>
              <a:noFill/>
            </a:ln>
          </p:spPr>
        </p:pic>
      </p:grpSp>
      <p:cxnSp>
        <p:nvCxnSpPr>
          <p:cNvPr id="46" name="Connector: Elbow 45">
            <a:extLst>
              <a:ext uri="{FF2B5EF4-FFF2-40B4-BE49-F238E27FC236}">
                <a16:creationId xmlns:a16="http://schemas.microsoft.com/office/drawing/2014/main" id="{5A84B7AA-59A5-407C-DA9E-3B83C87BD7E6}"/>
              </a:ext>
            </a:extLst>
          </p:cNvPr>
          <p:cNvCxnSpPr>
            <a:cxnSpLocks/>
            <a:stCxn id="38" idx="2"/>
            <a:endCxn id="4" idx="4"/>
          </p:cNvCxnSpPr>
          <p:nvPr/>
        </p:nvCxnSpPr>
        <p:spPr>
          <a:xfrm rot="5400000" flipH="1">
            <a:off x="7798176" y="1347720"/>
            <a:ext cx="11793" cy="5958027"/>
          </a:xfrm>
          <a:prstGeom prst="bentConnector3">
            <a:avLst>
              <a:gd name="adj1" fmla="val -5249936"/>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D898B3-7AB9-91BA-CD85-039313B656B1}"/>
              </a:ext>
            </a:extLst>
          </p:cNvPr>
          <p:cNvGrpSpPr/>
          <p:nvPr/>
        </p:nvGrpSpPr>
        <p:grpSpPr>
          <a:xfrm>
            <a:off x="2391004" y="1391764"/>
            <a:ext cx="679028" cy="679028"/>
            <a:chOff x="4102442" y="2266684"/>
            <a:chExt cx="1018542" cy="1018542"/>
          </a:xfrm>
        </p:grpSpPr>
        <p:sp>
          <p:nvSpPr>
            <p:cNvPr id="53" name="Oval 52">
              <a:extLst>
                <a:ext uri="{FF2B5EF4-FFF2-40B4-BE49-F238E27FC236}">
                  <a16:creationId xmlns:a16="http://schemas.microsoft.com/office/drawing/2014/main" id="{A0E7B0E0-D468-920F-D8AF-044E178537CC}"/>
                </a:ext>
              </a:extLst>
            </p:cNvPr>
            <p:cNvSpPr>
              <a:spLocks noChangeAspect="1"/>
            </p:cNvSpPr>
            <p:nvPr/>
          </p:nvSpPr>
          <p:spPr>
            <a:xfrm>
              <a:off x="4102442" y="2266684"/>
              <a:ext cx="1018542" cy="1018542"/>
            </a:xfrm>
            <a:prstGeom prst="ellipse">
              <a:avLst/>
            </a:prstGeom>
            <a:solidFill>
              <a:srgbClr val="2D323D">
                <a:alpha val="91000"/>
              </a:srgb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2750" hangingPunct="0"/>
              <a:endParaRPr lang="en-US" sz="1600" b="1" kern="0">
                <a:solidFill>
                  <a:srgbClr val="FFFFFF"/>
                </a:solidFill>
                <a:latin typeface="Segoe UI"/>
                <a:sym typeface="Helvetica Neue"/>
              </a:endParaRPr>
            </a:p>
          </p:txBody>
        </p:sp>
        <p:grpSp>
          <p:nvGrpSpPr>
            <p:cNvPr id="54" name="Group 53">
              <a:extLst>
                <a:ext uri="{FF2B5EF4-FFF2-40B4-BE49-F238E27FC236}">
                  <a16:creationId xmlns:a16="http://schemas.microsoft.com/office/drawing/2014/main" id="{36B21F2D-5012-3F9D-D916-1B70759A1814}"/>
                </a:ext>
              </a:extLst>
            </p:cNvPr>
            <p:cNvGrpSpPr/>
            <p:nvPr/>
          </p:nvGrpSpPr>
          <p:grpSpPr>
            <a:xfrm>
              <a:off x="4244342" y="2545759"/>
              <a:ext cx="518158" cy="524424"/>
              <a:chOff x="4525886" y="4183659"/>
              <a:chExt cx="558217" cy="564967"/>
            </a:xfrm>
          </p:grpSpPr>
          <p:sp>
            <p:nvSpPr>
              <p:cNvPr id="55" name="Oval 55">
                <a:extLst>
                  <a:ext uri="{FF2B5EF4-FFF2-40B4-BE49-F238E27FC236}">
                    <a16:creationId xmlns:a16="http://schemas.microsoft.com/office/drawing/2014/main" id="{B1E3AE9B-5970-1E1D-D481-1A5A9E17D106}"/>
                  </a:ext>
                </a:extLst>
              </p:cNvPr>
              <p:cNvSpPr>
                <a:spLocks noChangeArrowheads="1"/>
              </p:cNvSpPr>
              <p:nvPr/>
            </p:nvSpPr>
            <p:spPr bwMode="auto">
              <a:xfrm>
                <a:off x="4525886" y="4387874"/>
                <a:ext cx="324888" cy="110546"/>
              </a:xfrm>
              <a:prstGeom prst="ellipse">
                <a:avLst/>
              </a:pr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6" name="Freeform 56">
                <a:extLst>
                  <a:ext uri="{FF2B5EF4-FFF2-40B4-BE49-F238E27FC236}">
                    <a16:creationId xmlns:a16="http://schemas.microsoft.com/office/drawing/2014/main" id="{D7BAE802-0D32-D67E-7CEC-7C5542F91453}"/>
                  </a:ext>
                </a:extLst>
              </p:cNvPr>
              <p:cNvSpPr>
                <a:spLocks/>
              </p:cNvSpPr>
              <p:nvPr/>
            </p:nvSpPr>
            <p:spPr bwMode="auto">
              <a:xfrm>
                <a:off x="4525886" y="4443569"/>
                <a:ext cx="324888" cy="305057"/>
              </a:xfrm>
              <a:custGeom>
                <a:avLst/>
                <a:gdLst>
                  <a:gd name="T0" fmla="*/ 326 w 326"/>
                  <a:gd name="T1" fmla="*/ 0 h 306"/>
                  <a:gd name="T2" fmla="*/ 326 w 326"/>
                  <a:gd name="T3" fmla="*/ 250 h 306"/>
                  <a:gd name="T4" fmla="*/ 163 w 326"/>
                  <a:gd name="T5" fmla="*/ 306 h 306"/>
                  <a:gd name="T6" fmla="*/ 0 w 326"/>
                  <a:gd name="T7" fmla="*/ 250 h 306"/>
                  <a:gd name="T8" fmla="*/ 0 w 326"/>
                  <a:gd name="T9" fmla="*/ 0 h 306"/>
                </a:gdLst>
                <a:ahLst/>
                <a:cxnLst>
                  <a:cxn ang="0">
                    <a:pos x="T0" y="T1"/>
                  </a:cxn>
                  <a:cxn ang="0">
                    <a:pos x="T2" y="T3"/>
                  </a:cxn>
                  <a:cxn ang="0">
                    <a:pos x="T4" y="T5"/>
                  </a:cxn>
                  <a:cxn ang="0">
                    <a:pos x="T6" y="T7"/>
                  </a:cxn>
                  <a:cxn ang="0">
                    <a:pos x="T8" y="T9"/>
                  </a:cxn>
                </a:cxnLst>
                <a:rect l="0" t="0" r="r" b="b"/>
                <a:pathLst>
                  <a:path w="326" h="306">
                    <a:moveTo>
                      <a:pt x="326" y="0"/>
                    </a:moveTo>
                    <a:cubicBezTo>
                      <a:pt x="326" y="250"/>
                      <a:pt x="326" y="250"/>
                      <a:pt x="326" y="250"/>
                    </a:cubicBezTo>
                    <a:cubicBezTo>
                      <a:pt x="326" y="281"/>
                      <a:pt x="253" y="306"/>
                      <a:pt x="163" y="306"/>
                    </a:cubicBezTo>
                    <a:cubicBezTo>
                      <a:pt x="73" y="306"/>
                      <a:pt x="0" y="281"/>
                      <a:pt x="0" y="250"/>
                    </a:cubicBezTo>
                    <a:cubicBezTo>
                      <a:pt x="0" y="0"/>
                      <a:pt x="0" y="0"/>
                      <a:pt x="0" y="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7" name="Freeform 57">
                <a:extLst>
                  <a:ext uri="{FF2B5EF4-FFF2-40B4-BE49-F238E27FC236}">
                    <a16:creationId xmlns:a16="http://schemas.microsoft.com/office/drawing/2014/main" id="{2FFB8F0A-7952-F527-FED6-7E9C8A226C8C}"/>
                  </a:ext>
                </a:extLst>
              </p:cNvPr>
              <p:cNvSpPr>
                <a:spLocks/>
              </p:cNvSpPr>
              <p:nvPr/>
            </p:nvSpPr>
            <p:spPr bwMode="auto">
              <a:xfrm>
                <a:off x="4525886" y="4612342"/>
                <a:ext cx="324888" cy="55695"/>
              </a:xfrm>
              <a:custGeom>
                <a:avLst/>
                <a:gdLst>
                  <a:gd name="T0" fmla="*/ 326 w 326"/>
                  <a:gd name="T1" fmla="*/ 0 h 56"/>
                  <a:gd name="T2" fmla="*/ 163 w 326"/>
                  <a:gd name="T3" fmla="*/ 56 h 56"/>
                  <a:gd name="T4" fmla="*/ 0 w 326"/>
                  <a:gd name="T5" fmla="*/ 0 h 56"/>
                </a:gdLst>
                <a:ahLst/>
                <a:cxnLst>
                  <a:cxn ang="0">
                    <a:pos x="T0" y="T1"/>
                  </a:cxn>
                  <a:cxn ang="0">
                    <a:pos x="T2" y="T3"/>
                  </a:cxn>
                  <a:cxn ang="0">
                    <a:pos x="T4" y="T5"/>
                  </a:cxn>
                </a:cxnLst>
                <a:rect l="0" t="0" r="r" b="b"/>
                <a:pathLst>
                  <a:path w="326" h="56">
                    <a:moveTo>
                      <a:pt x="326" y="0"/>
                    </a:moveTo>
                    <a:cubicBezTo>
                      <a:pt x="326" y="31"/>
                      <a:pt x="253" y="56"/>
                      <a:pt x="163" y="56"/>
                    </a:cubicBezTo>
                    <a:cubicBezTo>
                      <a:pt x="73" y="56"/>
                      <a:pt x="0" y="31"/>
                      <a:pt x="0" y="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8" name="Freeform 58">
                <a:extLst>
                  <a:ext uri="{FF2B5EF4-FFF2-40B4-BE49-F238E27FC236}">
                    <a16:creationId xmlns:a16="http://schemas.microsoft.com/office/drawing/2014/main" id="{C2536B6A-D075-467F-AF0B-26DDEE283BE5}"/>
                  </a:ext>
                </a:extLst>
              </p:cNvPr>
              <p:cNvSpPr>
                <a:spLocks/>
              </p:cNvSpPr>
              <p:nvPr/>
            </p:nvSpPr>
            <p:spPr bwMode="auto">
              <a:xfrm>
                <a:off x="4525886" y="4532597"/>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59" name="Oval 59">
                <a:extLst>
                  <a:ext uri="{FF2B5EF4-FFF2-40B4-BE49-F238E27FC236}">
                    <a16:creationId xmlns:a16="http://schemas.microsoft.com/office/drawing/2014/main" id="{5BE1305F-D269-8B03-FF27-E468C9E759D0}"/>
                  </a:ext>
                </a:extLst>
              </p:cNvPr>
              <p:cNvSpPr>
                <a:spLocks noChangeArrowheads="1"/>
              </p:cNvSpPr>
              <p:nvPr/>
            </p:nvSpPr>
            <p:spPr bwMode="auto">
              <a:xfrm>
                <a:off x="4759215" y="4183659"/>
                <a:ext cx="324888" cy="109702"/>
              </a:xfrm>
              <a:prstGeom prst="ellipse">
                <a:avLst/>
              </a:pr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0" name="Line 60">
                <a:extLst>
                  <a:ext uri="{FF2B5EF4-FFF2-40B4-BE49-F238E27FC236}">
                    <a16:creationId xmlns:a16="http://schemas.microsoft.com/office/drawing/2014/main" id="{67EC0BAF-9CEA-BCD9-977F-0B41ABD3FC59}"/>
                  </a:ext>
                </a:extLst>
              </p:cNvPr>
              <p:cNvSpPr>
                <a:spLocks noChangeShapeType="1"/>
              </p:cNvSpPr>
              <p:nvPr/>
            </p:nvSpPr>
            <p:spPr bwMode="auto">
              <a:xfrm flipV="1">
                <a:off x="4759215" y="4238510"/>
                <a:ext cx="0" cy="155271"/>
              </a:xfrm>
              <a:prstGeom prst="line">
                <a:avLst/>
              </a:prstGeom>
              <a:noFill/>
              <a:ln w="19050" cap="rnd">
                <a:solidFill>
                  <a:srgbClr val="FFFFFF"/>
                </a:solidFill>
                <a:prstDash val="solid"/>
                <a:round/>
                <a:headEnd/>
                <a:tailEnd/>
              </a:ln>
              <a:extLst>
                <a:ext uri="{909E8E84-426E-40dd-AFC4-6F175D3DCCD1}">
                  <a14:hiddenFill xmlns:a14="http://schemas.microsoft.com/office/drawing/2010/main" xmlns="">
                    <a:no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1" name="Freeform 61">
                <a:extLst>
                  <a:ext uri="{FF2B5EF4-FFF2-40B4-BE49-F238E27FC236}">
                    <a16:creationId xmlns:a16="http://schemas.microsoft.com/office/drawing/2014/main" id="{4493E616-1242-D9CE-211C-0011D4CED7EE}"/>
                  </a:ext>
                </a:extLst>
              </p:cNvPr>
              <p:cNvSpPr>
                <a:spLocks/>
              </p:cNvSpPr>
              <p:nvPr/>
            </p:nvSpPr>
            <p:spPr bwMode="auto">
              <a:xfrm>
                <a:off x="4850774" y="4238510"/>
                <a:ext cx="233329" cy="400414"/>
              </a:xfrm>
              <a:custGeom>
                <a:avLst/>
                <a:gdLst>
                  <a:gd name="T0" fmla="*/ 234 w 234"/>
                  <a:gd name="T1" fmla="*/ 0 h 402"/>
                  <a:gd name="T2" fmla="*/ 234 w 234"/>
                  <a:gd name="T3" fmla="*/ 347 h 402"/>
                  <a:gd name="T4" fmla="*/ 71 w 234"/>
                  <a:gd name="T5" fmla="*/ 402 h 402"/>
                  <a:gd name="T6" fmla="*/ 0 w 234"/>
                  <a:gd name="T7" fmla="*/ 397 h 402"/>
                </a:gdLst>
                <a:ahLst/>
                <a:cxnLst>
                  <a:cxn ang="0">
                    <a:pos x="T0" y="T1"/>
                  </a:cxn>
                  <a:cxn ang="0">
                    <a:pos x="T2" y="T3"/>
                  </a:cxn>
                  <a:cxn ang="0">
                    <a:pos x="T4" y="T5"/>
                  </a:cxn>
                  <a:cxn ang="0">
                    <a:pos x="T6" y="T7"/>
                  </a:cxn>
                </a:cxnLst>
                <a:rect l="0" t="0" r="r" b="b"/>
                <a:pathLst>
                  <a:path w="234" h="402">
                    <a:moveTo>
                      <a:pt x="234" y="0"/>
                    </a:moveTo>
                    <a:cubicBezTo>
                      <a:pt x="234" y="347"/>
                      <a:pt x="234" y="347"/>
                      <a:pt x="234" y="347"/>
                    </a:cubicBezTo>
                    <a:cubicBezTo>
                      <a:pt x="234" y="377"/>
                      <a:pt x="161" y="402"/>
                      <a:pt x="71" y="402"/>
                    </a:cubicBezTo>
                    <a:cubicBezTo>
                      <a:pt x="46" y="402"/>
                      <a:pt x="22" y="400"/>
                      <a:pt x="0" y="397"/>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2" name="Freeform 62">
                <a:extLst>
                  <a:ext uri="{FF2B5EF4-FFF2-40B4-BE49-F238E27FC236}">
                    <a16:creationId xmlns:a16="http://schemas.microsoft.com/office/drawing/2014/main" id="{35D6F0B3-18E5-2A21-565A-BD5BA8F8E665}"/>
                  </a:ext>
                </a:extLst>
              </p:cNvPr>
              <p:cNvSpPr>
                <a:spLocks/>
              </p:cNvSpPr>
              <p:nvPr/>
            </p:nvSpPr>
            <p:spPr bwMode="auto">
              <a:xfrm>
                <a:off x="4850774" y="4503483"/>
                <a:ext cx="233329" cy="54851"/>
              </a:xfrm>
              <a:custGeom>
                <a:avLst/>
                <a:gdLst>
                  <a:gd name="T0" fmla="*/ 234 w 234"/>
                  <a:gd name="T1" fmla="*/ 0 h 55"/>
                  <a:gd name="T2" fmla="*/ 71 w 234"/>
                  <a:gd name="T3" fmla="*/ 55 h 55"/>
                  <a:gd name="T4" fmla="*/ 0 w 234"/>
                  <a:gd name="T5" fmla="*/ 50 h 55"/>
                </a:gdLst>
                <a:ahLst/>
                <a:cxnLst>
                  <a:cxn ang="0">
                    <a:pos x="T0" y="T1"/>
                  </a:cxn>
                  <a:cxn ang="0">
                    <a:pos x="T2" y="T3"/>
                  </a:cxn>
                  <a:cxn ang="0">
                    <a:pos x="T4" y="T5"/>
                  </a:cxn>
                </a:cxnLst>
                <a:rect l="0" t="0" r="r" b="b"/>
                <a:pathLst>
                  <a:path w="234" h="55">
                    <a:moveTo>
                      <a:pt x="234" y="0"/>
                    </a:moveTo>
                    <a:cubicBezTo>
                      <a:pt x="234" y="30"/>
                      <a:pt x="161" y="55"/>
                      <a:pt x="71" y="55"/>
                    </a:cubicBezTo>
                    <a:cubicBezTo>
                      <a:pt x="46" y="55"/>
                      <a:pt x="22" y="53"/>
                      <a:pt x="0" y="5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63" name="Freeform 63">
                <a:extLst>
                  <a:ext uri="{FF2B5EF4-FFF2-40B4-BE49-F238E27FC236}">
                    <a16:creationId xmlns:a16="http://schemas.microsoft.com/office/drawing/2014/main" id="{E07CF29C-C1A0-C90D-B0F0-830D7948BDBB}"/>
                  </a:ext>
                </a:extLst>
              </p:cNvPr>
              <p:cNvSpPr>
                <a:spLocks/>
              </p:cNvSpPr>
              <p:nvPr/>
            </p:nvSpPr>
            <p:spPr bwMode="auto">
              <a:xfrm>
                <a:off x="4850774" y="4417831"/>
                <a:ext cx="233329" cy="55695"/>
              </a:xfrm>
              <a:custGeom>
                <a:avLst/>
                <a:gdLst>
                  <a:gd name="T0" fmla="*/ 234 w 234"/>
                  <a:gd name="T1" fmla="*/ 0 h 56"/>
                  <a:gd name="T2" fmla="*/ 71 w 234"/>
                  <a:gd name="T3" fmla="*/ 56 h 56"/>
                  <a:gd name="T4" fmla="*/ 0 w 234"/>
                  <a:gd name="T5" fmla="*/ 50 h 56"/>
                </a:gdLst>
                <a:ahLst/>
                <a:cxnLst>
                  <a:cxn ang="0">
                    <a:pos x="T0" y="T1"/>
                  </a:cxn>
                  <a:cxn ang="0">
                    <a:pos x="T2" y="T3"/>
                  </a:cxn>
                  <a:cxn ang="0">
                    <a:pos x="T4" y="T5"/>
                  </a:cxn>
                </a:cxnLst>
                <a:rect l="0" t="0" r="r" b="b"/>
                <a:pathLst>
                  <a:path w="234" h="56">
                    <a:moveTo>
                      <a:pt x="234" y="0"/>
                    </a:moveTo>
                    <a:cubicBezTo>
                      <a:pt x="234" y="31"/>
                      <a:pt x="161" y="56"/>
                      <a:pt x="71" y="56"/>
                    </a:cubicBezTo>
                    <a:cubicBezTo>
                      <a:pt x="46" y="56"/>
                      <a:pt x="22" y="54"/>
                      <a:pt x="0" y="5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4" name="Freeform 64">
                <a:extLst>
                  <a:ext uri="{FF2B5EF4-FFF2-40B4-BE49-F238E27FC236}">
                    <a16:creationId xmlns:a16="http://schemas.microsoft.com/office/drawing/2014/main" id="{FD3094C0-81F9-70E3-E879-C7D73CE29782}"/>
                  </a:ext>
                </a:extLst>
              </p:cNvPr>
              <p:cNvSpPr>
                <a:spLocks/>
              </p:cNvSpPr>
              <p:nvPr/>
            </p:nvSpPr>
            <p:spPr bwMode="auto">
              <a:xfrm>
                <a:off x="4759215" y="4333023"/>
                <a:ext cx="324888" cy="54851"/>
              </a:xfrm>
              <a:custGeom>
                <a:avLst/>
                <a:gdLst>
                  <a:gd name="T0" fmla="*/ 326 w 326"/>
                  <a:gd name="T1" fmla="*/ 0 h 55"/>
                  <a:gd name="T2" fmla="*/ 163 w 326"/>
                  <a:gd name="T3" fmla="*/ 55 h 55"/>
                  <a:gd name="T4" fmla="*/ 0 w 326"/>
                  <a:gd name="T5" fmla="*/ 0 h 55"/>
                </a:gdLst>
                <a:ahLst/>
                <a:cxnLst>
                  <a:cxn ang="0">
                    <a:pos x="T0" y="T1"/>
                  </a:cxn>
                  <a:cxn ang="0">
                    <a:pos x="T2" y="T3"/>
                  </a:cxn>
                  <a:cxn ang="0">
                    <a:pos x="T4" y="T5"/>
                  </a:cxn>
                </a:cxnLst>
                <a:rect l="0" t="0" r="r" b="b"/>
                <a:pathLst>
                  <a:path w="326" h="55">
                    <a:moveTo>
                      <a:pt x="326" y="0"/>
                    </a:moveTo>
                    <a:cubicBezTo>
                      <a:pt x="326" y="30"/>
                      <a:pt x="253" y="55"/>
                      <a:pt x="163" y="55"/>
                    </a:cubicBezTo>
                    <a:cubicBezTo>
                      <a:pt x="73" y="55"/>
                      <a:pt x="0" y="30"/>
                      <a:pt x="0" y="0"/>
                    </a:cubicBezTo>
                  </a:path>
                </a:pathLst>
              </a:custGeom>
              <a:noFill/>
              <a:ln w="190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grpSp>
      <p:pic>
        <p:nvPicPr>
          <p:cNvPr id="1025" name="Picture 1024">
            <a:extLst>
              <a:ext uri="{FF2B5EF4-FFF2-40B4-BE49-F238E27FC236}">
                <a16:creationId xmlns:a16="http://schemas.microsoft.com/office/drawing/2014/main" id="{80CB0F04-F60C-13B4-9894-F237CE68CD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60212" y="1494330"/>
            <a:ext cx="132405" cy="168053"/>
          </a:xfrm>
          <a:prstGeom prst="rect">
            <a:avLst/>
          </a:prstGeom>
        </p:spPr>
      </p:pic>
      <p:grpSp>
        <p:nvGrpSpPr>
          <p:cNvPr id="1027" name="Group 4">
            <a:extLst>
              <a:ext uri="{FF2B5EF4-FFF2-40B4-BE49-F238E27FC236}">
                <a16:creationId xmlns:a16="http://schemas.microsoft.com/office/drawing/2014/main" id="{DE4C0AFB-2847-64C9-303B-9583A00F8FE1}"/>
              </a:ext>
            </a:extLst>
          </p:cNvPr>
          <p:cNvGrpSpPr>
            <a:grpSpLocks noChangeAspect="1"/>
          </p:cNvGrpSpPr>
          <p:nvPr/>
        </p:nvGrpSpPr>
        <p:grpSpPr bwMode="auto">
          <a:xfrm>
            <a:off x="2877192" y="1704959"/>
            <a:ext cx="110789" cy="148838"/>
            <a:chOff x="606" y="1800"/>
            <a:chExt cx="198" cy="266"/>
          </a:xfrm>
          <a:solidFill>
            <a:srgbClr val="FFFFFF"/>
          </a:solidFill>
        </p:grpSpPr>
        <p:sp>
          <p:nvSpPr>
            <p:cNvPr id="1028" name="Freeform 5">
              <a:extLst>
                <a:ext uri="{FF2B5EF4-FFF2-40B4-BE49-F238E27FC236}">
                  <a16:creationId xmlns:a16="http://schemas.microsoft.com/office/drawing/2014/main" id="{A2414DB4-32EE-3166-33F8-071AA99A3AB1}"/>
                </a:ext>
              </a:extLst>
            </p:cNvPr>
            <p:cNvSpPr>
              <a:spLocks/>
            </p:cNvSpPr>
            <p:nvPr/>
          </p:nvSpPr>
          <p:spPr bwMode="auto">
            <a:xfrm>
              <a:off x="606" y="1800"/>
              <a:ext cx="198" cy="266"/>
            </a:xfrm>
            <a:custGeom>
              <a:avLst/>
              <a:gdLst>
                <a:gd name="T0" fmla="*/ 472 w 479"/>
                <a:gd name="T1" fmla="*/ 29 h 642"/>
                <a:gd name="T2" fmla="*/ 406 w 479"/>
                <a:gd name="T3" fmla="*/ 29 h 642"/>
                <a:gd name="T4" fmla="*/ 406 w 479"/>
                <a:gd name="T5" fmla="*/ 7 h 642"/>
                <a:gd name="T6" fmla="*/ 399 w 479"/>
                <a:gd name="T7" fmla="*/ 0 h 642"/>
                <a:gd name="T8" fmla="*/ 392 w 479"/>
                <a:gd name="T9" fmla="*/ 7 h 642"/>
                <a:gd name="T10" fmla="*/ 392 w 479"/>
                <a:gd name="T11" fmla="*/ 66 h 642"/>
                <a:gd name="T12" fmla="*/ 399 w 479"/>
                <a:gd name="T13" fmla="*/ 73 h 642"/>
                <a:gd name="T14" fmla="*/ 406 w 479"/>
                <a:gd name="T15" fmla="*/ 66 h 642"/>
                <a:gd name="T16" fmla="*/ 406 w 479"/>
                <a:gd name="T17" fmla="*/ 43 h 642"/>
                <a:gd name="T18" fmla="*/ 465 w 479"/>
                <a:gd name="T19" fmla="*/ 43 h 642"/>
                <a:gd name="T20" fmla="*/ 465 w 479"/>
                <a:gd name="T21" fmla="*/ 628 h 642"/>
                <a:gd name="T22" fmla="*/ 14 w 479"/>
                <a:gd name="T23" fmla="*/ 628 h 642"/>
                <a:gd name="T24" fmla="*/ 14 w 479"/>
                <a:gd name="T25" fmla="*/ 43 h 642"/>
                <a:gd name="T26" fmla="*/ 51 w 479"/>
                <a:gd name="T27" fmla="*/ 43 h 642"/>
                <a:gd name="T28" fmla="*/ 58 w 479"/>
                <a:gd name="T29" fmla="*/ 36 h 642"/>
                <a:gd name="T30" fmla="*/ 51 w 479"/>
                <a:gd name="T31" fmla="*/ 29 h 642"/>
                <a:gd name="T32" fmla="*/ 7 w 479"/>
                <a:gd name="T33" fmla="*/ 29 h 642"/>
                <a:gd name="T34" fmla="*/ 0 w 479"/>
                <a:gd name="T35" fmla="*/ 36 h 642"/>
                <a:gd name="T36" fmla="*/ 0 w 479"/>
                <a:gd name="T37" fmla="*/ 635 h 642"/>
                <a:gd name="T38" fmla="*/ 7 w 479"/>
                <a:gd name="T39" fmla="*/ 642 h 642"/>
                <a:gd name="T40" fmla="*/ 472 w 479"/>
                <a:gd name="T41" fmla="*/ 642 h 642"/>
                <a:gd name="T42" fmla="*/ 479 w 479"/>
                <a:gd name="T43" fmla="*/ 635 h 642"/>
                <a:gd name="T44" fmla="*/ 479 w 479"/>
                <a:gd name="T45" fmla="*/ 36 h 642"/>
                <a:gd name="T46" fmla="*/ 472 w 479"/>
                <a:gd name="T47" fmla="*/ 2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9" h="642">
                  <a:moveTo>
                    <a:pt x="472" y="29"/>
                  </a:moveTo>
                  <a:cubicBezTo>
                    <a:pt x="406" y="29"/>
                    <a:pt x="406" y="29"/>
                    <a:pt x="406" y="29"/>
                  </a:cubicBezTo>
                  <a:cubicBezTo>
                    <a:pt x="406" y="7"/>
                    <a:pt x="406" y="7"/>
                    <a:pt x="406" y="7"/>
                  </a:cubicBezTo>
                  <a:cubicBezTo>
                    <a:pt x="406" y="3"/>
                    <a:pt x="403" y="0"/>
                    <a:pt x="399" y="0"/>
                  </a:cubicBezTo>
                  <a:cubicBezTo>
                    <a:pt x="395" y="0"/>
                    <a:pt x="392" y="3"/>
                    <a:pt x="392" y="7"/>
                  </a:cubicBezTo>
                  <a:cubicBezTo>
                    <a:pt x="392" y="66"/>
                    <a:pt x="392" y="66"/>
                    <a:pt x="392" y="66"/>
                  </a:cubicBezTo>
                  <a:cubicBezTo>
                    <a:pt x="392" y="70"/>
                    <a:pt x="395" y="73"/>
                    <a:pt x="399" y="73"/>
                  </a:cubicBezTo>
                  <a:cubicBezTo>
                    <a:pt x="403" y="73"/>
                    <a:pt x="406" y="70"/>
                    <a:pt x="406" y="66"/>
                  </a:cubicBezTo>
                  <a:cubicBezTo>
                    <a:pt x="406" y="43"/>
                    <a:pt x="406" y="43"/>
                    <a:pt x="406" y="43"/>
                  </a:cubicBezTo>
                  <a:cubicBezTo>
                    <a:pt x="465" y="43"/>
                    <a:pt x="465" y="43"/>
                    <a:pt x="465" y="43"/>
                  </a:cubicBezTo>
                  <a:cubicBezTo>
                    <a:pt x="465" y="628"/>
                    <a:pt x="465" y="628"/>
                    <a:pt x="465" y="628"/>
                  </a:cubicBezTo>
                  <a:cubicBezTo>
                    <a:pt x="14" y="628"/>
                    <a:pt x="14" y="628"/>
                    <a:pt x="14" y="628"/>
                  </a:cubicBezTo>
                  <a:cubicBezTo>
                    <a:pt x="14" y="43"/>
                    <a:pt x="14" y="43"/>
                    <a:pt x="14" y="43"/>
                  </a:cubicBezTo>
                  <a:cubicBezTo>
                    <a:pt x="51" y="43"/>
                    <a:pt x="51" y="43"/>
                    <a:pt x="51" y="43"/>
                  </a:cubicBezTo>
                  <a:cubicBezTo>
                    <a:pt x="54" y="43"/>
                    <a:pt x="58" y="40"/>
                    <a:pt x="58" y="36"/>
                  </a:cubicBezTo>
                  <a:cubicBezTo>
                    <a:pt x="58" y="33"/>
                    <a:pt x="54" y="29"/>
                    <a:pt x="51" y="29"/>
                  </a:cubicBezTo>
                  <a:cubicBezTo>
                    <a:pt x="7" y="29"/>
                    <a:pt x="7" y="29"/>
                    <a:pt x="7" y="29"/>
                  </a:cubicBezTo>
                  <a:cubicBezTo>
                    <a:pt x="4" y="29"/>
                    <a:pt x="0" y="33"/>
                    <a:pt x="0" y="36"/>
                  </a:cubicBezTo>
                  <a:cubicBezTo>
                    <a:pt x="0" y="635"/>
                    <a:pt x="0" y="635"/>
                    <a:pt x="0" y="635"/>
                  </a:cubicBezTo>
                  <a:cubicBezTo>
                    <a:pt x="0" y="639"/>
                    <a:pt x="4" y="642"/>
                    <a:pt x="7" y="642"/>
                  </a:cubicBezTo>
                  <a:cubicBezTo>
                    <a:pt x="472" y="642"/>
                    <a:pt x="472" y="642"/>
                    <a:pt x="472" y="642"/>
                  </a:cubicBezTo>
                  <a:cubicBezTo>
                    <a:pt x="476" y="642"/>
                    <a:pt x="479" y="639"/>
                    <a:pt x="479" y="635"/>
                  </a:cubicBezTo>
                  <a:cubicBezTo>
                    <a:pt x="479" y="36"/>
                    <a:pt x="479" y="36"/>
                    <a:pt x="479" y="36"/>
                  </a:cubicBezTo>
                  <a:cubicBezTo>
                    <a:pt x="479" y="33"/>
                    <a:pt x="476" y="29"/>
                    <a:pt x="472"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29" name="Freeform 6">
              <a:extLst>
                <a:ext uri="{FF2B5EF4-FFF2-40B4-BE49-F238E27FC236}">
                  <a16:creationId xmlns:a16="http://schemas.microsoft.com/office/drawing/2014/main" id="{1A43F1C8-B568-7A8D-7B0F-2342DCC04E48}"/>
                </a:ext>
              </a:extLst>
            </p:cNvPr>
            <p:cNvSpPr>
              <a:spLocks/>
            </p:cNvSpPr>
            <p:nvPr/>
          </p:nvSpPr>
          <p:spPr bwMode="auto">
            <a:xfrm>
              <a:off x="701"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0" name="Freeform 7">
              <a:extLst>
                <a:ext uri="{FF2B5EF4-FFF2-40B4-BE49-F238E27FC236}">
                  <a16:creationId xmlns:a16="http://schemas.microsoft.com/office/drawing/2014/main" id="{6BDEE538-0643-56F8-31C5-01D49FC4E65C}"/>
                </a:ext>
              </a:extLst>
            </p:cNvPr>
            <p:cNvSpPr>
              <a:spLocks/>
            </p:cNvSpPr>
            <p:nvPr/>
          </p:nvSpPr>
          <p:spPr bwMode="auto">
            <a:xfrm>
              <a:off x="679"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1" name="Freeform 8">
              <a:extLst>
                <a:ext uri="{FF2B5EF4-FFF2-40B4-BE49-F238E27FC236}">
                  <a16:creationId xmlns:a16="http://schemas.microsoft.com/office/drawing/2014/main" id="{54C0547B-A3E5-8311-E108-C471B396531D}"/>
                </a:ext>
              </a:extLst>
            </p:cNvPr>
            <p:cNvSpPr>
              <a:spLocks/>
            </p:cNvSpPr>
            <p:nvPr/>
          </p:nvSpPr>
          <p:spPr bwMode="auto">
            <a:xfrm>
              <a:off x="65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2" name="Freeform 9">
              <a:extLst>
                <a:ext uri="{FF2B5EF4-FFF2-40B4-BE49-F238E27FC236}">
                  <a16:creationId xmlns:a16="http://schemas.microsoft.com/office/drawing/2014/main" id="{5B6E09D7-3AD5-1EAD-EE44-7E8E616A69BB}"/>
                </a:ext>
              </a:extLst>
            </p:cNvPr>
            <p:cNvSpPr>
              <a:spLocks/>
            </p:cNvSpPr>
            <p:nvPr/>
          </p:nvSpPr>
          <p:spPr bwMode="auto">
            <a:xfrm>
              <a:off x="634"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0" y="73"/>
                    <a:pt x="14" y="70"/>
                    <a:pt x="14" y="66"/>
                  </a:cubicBezTo>
                  <a:cubicBezTo>
                    <a:pt x="14" y="43"/>
                    <a:pt x="14" y="43"/>
                    <a:pt x="14" y="43"/>
                  </a:cubicBezTo>
                  <a:cubicBezTo>
                    <a:pt x="36" y="43"/>
                    <a:pt x="36" y="43"/>
                    <a:pt x="36" y="43"/>
                  </a:cubicBezTo>
                  <a:cubicBezTo>
                    <a:pt x="39" y="43"/>
                    <a:pt x="43" y="40"/>
                    <a:pt x="43" y="36"/>
                  </a:cubicBezTo>
                  <a:cubicBezTo>
                    <a:pt x="43" y="33"/>
                    <a:pt x="39" y="29"/>
                    <a:pt x="36" y="29"/>
                  </a:cubicBezTo>
                  <a:cubicBezTo>
                    <a:pt x="14" y="29"/>
                    <a:pt x="14" y="29"/>
                    <a:pt x="14" y="29"/>
                  </a:cubicBezTo>
                  <a:cubicBezTo>
                    <a:pt x="14" y="7"/>
                    <a:pt x="14" y="7"/>
                    <a:pt x="14" y="7"/>
                  </a:cubicBezTo>
                  <a:cubicBezTo>
                    <a:pt x="14" y="3"/>
                    <a:pt x="10"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3" name="Freeform 10">
              <a:extLst>
                <a:ext uri="{FF2B5EF4-FFF2-40B4-BE49-F238E27FC236}">
                  <a16:creationId xmlns:a16="http://schemas.microsoft.com/office/drawing/2014/main" id="{6A38C63A-1B63-62BE-CE54-AE6B86E2C470}"/>
                </a:ext>
              </a:extLst>
            </p:cNvPr>
            <p:cNvSpPr>
              <a:spLocks/>
            </p:cNvSpPr>
            <p:nvPr/>
          </p:nvSpPr>
          <p:spPr bwMode="auto">
            <a:xfrm>
              <a:off x="746" y="1800"/>
              <a:ext cx="18"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4" name="Freeform 11">
              <a:extLst>
                <a:ext uri="{FF2B5EF4-FFF2-40B4-BE49-F238E27FC236}">
                  <a16:creationId xmlns:a16="http://schemas.microsoft.com/office/drawing/2014/main" id="{6CCEDC79-C038-CD1C-46D5-FF9EF56AD15A}"/>
                </a:ext>
              </a:extLst>
            </p:cNvPr>
            <p:cNvSpPr>
              <a:spLocks/>
            </p:cNvSpPr>
            <p:nvPr/>
          </p:nvSpPr>
          <p:spPr bwMode="auto">
            <a:xfrm>
              <a:off x="724" y="1800"/>
              <a:ext cx="17" cy="30"/>
            </a:xfrm>
            <a:custGeom>
              <a:avLst/>
              <a:gdLst>
                <a:gd name="T0" fmla="*/ 7 w 43"/>
                <a:gd name="T1" fmla="*/ 73 h 73"/>
                <a:gd name="T2" fmla="*/ 14 w 43"/>
                <a:gd name="T3" fmla="*/ 66 h 73"/>
                <a:gd name="T4" fmla="*/ 14 w 43"/>
                <a:gd name="T5" fmla="*/ 43 h 73"/>
                <a:gd name="T6" fmla="*/ 36 w 43"/>
                <a:gd name="T7" fmla="*/ 43 h 73"/>
                <a:gd name="T8" fmla="*/ 43 w 43"/>
                <a:gd name="T9" fmla="*/ 36 h 73"/>
                <a:gd name="T10" fmla="*/ 36 w 43"/>
                <a:gd name="T11" fmla="*/ 29 h 73"/>
                <a:gd name="T12" fmla="*/ 14 w 43"/>
                <a:gd name="T13" fmla="*/ 29 h 73"/>
                <a:gd name="T14" fmla="*/ 14 w 43"/>
                <a:gd name="T15" fmla="*/ 7 h 73"/>
                <a:gd name="T16" fmla="*/ 7 w 43"/>
                <a:gd name="T17" fmla="*/ 0 h 73"/>
                <a:gd name="T18" fmla="*/ 0 w 43"/>
                <a:gd name="T19" fmla="*/ 7 h 73"/>
                <a:gd name="T20" fmla="*/ 0 w 43"/>
                <a:gd name="T21" fmla="*/ 66 h 73"/>
                <a:gd name="T22" fmla="*/ 7 w 43"/>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73">
                  <a:moveTo>
                    <a:pt x="7" y="73"/>
                  </a:moveTo>
                  <a:cubicBezTo>
                    <a:pt x="11" y="73"/>
                    <a:pt x="14" y="70"/>
                    <a:pt x="14" y="66"/>
                  </a:cubicBezTo>
                  <a:cubicBezTo>
                    <a:pt x="14" y="43"/>
                    <a:pt x="14" y="43"/>
                    <a:pt x="14" y="43"/>
                  </a:cubicBezTo>
                  <a:cubicBezTo>
                    <a:pt x="36" y="43"/>
                    <a:pt x="36" y="43"/>
                    <a:pt x="36" y="43"/>
                  </a:cubicBezTo>
                  <a:cubicBezTo>
                    <a:pt x="40" y="43"/>
                    <a:pt x="43" y="40"/>
                    <a:pt x="43" y="36"/>
                  </a:cubicBezTo>
                  <a:cubicBezTo>
                    <a:pt x="43" y="33"/>
                    <a:pt x="40" y="29"/>
                    <a:pt x="36" y="29"/>
                  </a:cubicBezTo>
                  <a:cubicBezTo>
                    <a:pt x="14" y="29"/>
                    <a:pt x="14" y="29"/>
                    <a:pt x="14" y="29"/>
                  </a:cubicBezTo>
                  <a:cubicBezTo>
                    <a:pt x="14" y="7"/>
                    <a:pt x="14" y="7"/>
                    <a:pt x="14" y="7"/>
                  </a:cubicBezTo>
                  <a:cubicBezTo>
                    <a:pt x="14" y="3"/>
                    <a:pt x="11" y="0"/>
                    <a:pt x="7" y="0"/>
                  </a:cubicBezTo>
                  <a:cubicBezTo>
                    <a:pt x="3" y="0"/>
                    <a:pt x="0" y="3"/>
                    <a:pt x="0" y="7"/>
                  </a:cubicBezTo>
                  <a:cubicBezTo>
                    <a:pt x="0" y="66"/>
                    <a:pt x="0" y="66"/>
                    <a:pt x="0" y="66"/>
                  </a:cubicBezTo>
                  <a:cubicBezTo>
                    <a:pt x="0" y="70"/>
                    <a:pt x="3" y="73"/>
                    <a:pt x="7"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5" name="Freeform 12">
              <a:extLst>
                <a:ext uri="{FF2B5EF4-FFF2-40B4-BE49-F238E27FC236}">
                  <a16:creationId xmlns:a16="http://schemas.microsoft.com/office/drawing/2014/main" id="{448BB8C3-5C08-5A8A-9CFF-DE236C9147A1}"/>
                </a:ext>
              </a:extLst>
            </p:cNvPr>
            <p:cNvSpPr>
              <a:spLocks/>
            </p:cNvSpPr>
            <p:nvPr/>
          </p:nvSpPr>
          <p:spPr bwMode="auto">
            <a:xfrm>
              <a:off x="636" y="2027"/>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6" name="Freeform 13">
              <a:extLst>
                <a:ext uri="{FF2B5EF4-FFF2-40B4-BE49-F238E27FC236}">
                  <a16:creationId xmlns:a16="http://schemas.microsoft.com/office/drawing/2014/main" id="{F8156F29-40F6-42D3-B0C1-D79D2A403349}"/>
                </a:ext>
              </a:extLst>
            </p:cNvPr>
            <p:cNvSpPr>
              <a:spLocks/>
            </p:cNvSpPr>
            <p:nvPr/>
          </p:nvSpPr>
          <p:spPr bwMode="auto">
            <a:xfrm>
              <a:off x="636" y="2002"/>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7" name="Freeform 14">
              <a:extLst>
                <a:ext uri="{FF2B5EF4-FFF2-40B4-BE49-F238E27FC236}">
                  <a16:creationId xmlns:a16="http://schemas.microsoft.com/office/drawing/2014/main" id="{256E54AA-89F7-5A9A-9AA2-9238B5C26A69}"/>
                </a:ext>
              </a:extLst>
            </p:cNvPr>
            <p:cNvSpPr>
              <a:spLocks/>
            </p:cNvSpPr>
            <p:nvPr/>
          </p:nvSpPr>
          <p:spPr bwMode="auto">
            <a:xfrm>
              <a:off x="636" y="197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8" name="Freeform 15">
              <a:extLst>
                <a:ext uri="{FF2B5EF4-FFF2-40B4-BE49-F238E27FC236}">
                  <a16:creationId xmlns:a16="http://schemas.microsoft.com/office/drawing/2014/main" id="{23D692C1-7E18-EA0D-11CC-38E1C29F25D0}"/>
                </a:ext>
              </a:extLst>
            </p:cNvPr>
            <p:cNvSpPr>
              <a:spLocks/>
            </p:cNvSpPr>
            <p:nvPr/>
          </p:nvSpPr>
          <p:spPr bwMode="auto">
            <a:xfrm>
              <a:off x="636" y="1953"/>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0"/>
                    <a:pt x="4" y="14"/>
                    <a:pt x="7" y="14"/>
                  </a:cubicBezTo>
                  <a:cubicBezTo>
                    <a:pt x="326" y="14"/>
                    <a:pt x="326" y="14"/>
                    <a:pt x="326" y="14"/>
                  </a:cubicBezTo>
                  <a:cubicBezTo>
                    <a:pt x="330" y="14"/>
                    <a:pt x="333" y="10"/>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39" name="Freeform 16">
              <a:extLst>
                <a:ext uri="{FF2B5EF4-FFF2-40B4-BE49-F238E27FC236}">
                  <a16:creationId xmlns:a16="http://schemas.microsoft.com/office/drawing/2014/main" id="{BE48638E-C4A2-6B16-0C42-814E0882AF28}"/>
                </a:ext>
              </a:extLst>
            </p:cNvPr>
            <p:cNvSpPr>
              <a:spLocks/>
            </p:cNvSpPr>
            <p:nvPr/>
          </p:nvSpPr>
          <p:spPr bwMode="auto">
            <a:xfrm>
              <a:off x="636" y="1928"/>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0" name="Freeform 17">
              <a:extLst>
                <a:ext uri="{FF2B5EF4-FFF2-40B4-BE49-F238E27FC236}">
                  <a16:creationId xmlns:a16="http://schemas.microsoft.com/office/drawing/2014/main" id="{8FB0DE85-82F5-B917-BD56-AA6C7F675CF5}"/>
                </a:ext>
              </a:extLst>
            </p:cNvPr>
            <p:cNvSpPr>
              <a:spLocks/>
            </p:cNvSpPr>
            <p:nvPr/>
          </p:nvSpPr>
          <p:spPr bwMode="auto">
            <a:xfrm>
              <a:off x="636" y="1904"/>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1" name="Freeform 18">
              <a:extLst>
                <a:ext uri="{FF2B5EF4-FFF2-40B4-BE49-F238E27FC236}">
                  <a16:creationId xmlns:a16="http://schemas.microsoft.com/office/drawing/2014/main" id="{84366977-E29F-23AF-768B-6315E715DBC5}"/>
                </a:ext>
              </a:extLst>
            </p:cNvPr>
            <p:cNvSpPr>
              <a:spLocks/>
            </p:cNvSpPr>
            <p:nvPr/>
          </p:nvSpPr>
          <p:spPr bwMode="auto">
            <a:xfrm>
              <a:off x="636" y="1879"/>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sp>
          <p:nvSpPr>
            <p:cNvPr id="1042" name="Freeform 19">
              <a:extLst>
                <a:ext uri="{FF2B5EF4-FFF2-40B4-BE49-F238E27FC236}">
                  <a16:creationId xmlns:a16="http://schemas.microsoft.com/office/drawing/2014/main" id="{F4831B5B-774F-BD05-B5EB-078CBF5B40ED}"/>
                </a:ext>
              </a:extLst>
            </p:cNvPr>
            <p:cNvSpPr>
              <a:spLocks/>
            </p:cNvSpPr>
            <p:nvPr/>
          </p:nvSpPr>
          <p:spPr bwMode="auto">
            <a:xfrm>
              <a:off x="636" y="1855"/>
              <a:ext cx="138" cy="6"/>
            </a:xfrm>
            <a:custGeom>
              <a:avLst/>
              <a:gdLst>
                <a:gd name="T0" fmla="*/ 326 w 333"/>
                <a:gd name="T1" fmla="*/ 0 h 14"/>
                <a:gd name="T2" fmla="*/ 7 w 333"/>
                <a:gd name="T3" fmla="*/ 0 h 14"/>
                <a:gd name="T4" fmla="*/ 0 w 333"/>
                <a:gd name="T5" fmla="*/ 7 h 14"/>
                <a:gd name="T6" fmla="*/ 7 w 333"/>
                <a:gd name="T7" fmla="*/ 14 h 14"/>
                <a:gd name="T8" fmla="*/ 326 w 333"/>
                <a:gd name="T9" fmla="*/ 14 h 14"/>
                <a:gd name="T10" fmla="*/ 333 w 333"/>
                <a:gd name="T11" fmla="*/ 7 h 14"/>
                <a:gd name="T12" fmla="*/ 326 w 33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33" h="14">
                  <a:moveTo>
                    <a:pt x="326" y="0"/>
                  </a:moveTo>
                  <a:cubicBezTo>
                    <a:pt x="7" y="0"/>
                    <a:pt x="7" y="0"/>
                    <a:pt x="7" y="0"/>
                  </a:cubicBezTo>
                  <a:cubicBezTo>
                    <a:pt x="4" y="0"/>
                    <a:pt x="0" y="3"/>
                    <a:pt x="0" y="7"/>
                  </a:cubicBezTo>
                  <a:cubicBezTo>
                    <a:pt x="0" y="11"/>
                    <a:pt x="4" y="14"/>
                    <a:pt x="7" y="14"/>
                  </a:cubicBezTo>
                  <a:cubicBezTo>
                    <a:pt x="326" y="14"/>
                    <a:pt x="326" y="14"/>
                    <a:pt x="326" y="14"/>
                  </a:cubicBezTo>
                  <a:cubicBezTo>
                    <a:pt x="330" y="14"/>
                    <a:pt x="333" y="11"/>
                    <a:pt x="333" y="7"/>
                  </a:cubicBezTo>
                  <a:cubicBezTo>
                    <a:pt x="333" y="3"/>
                    <a:pt x="330" y="0"/>
                    <a:pt x="32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algn="ctr" defTabSz="412750" hangingPunct="0"/>
              <a:endParaRPr lang="en-US" sz="1600" b="1" kern="0">
                <a:solidFill>
                  <a:srgbClr val="000000"/>
                </a:solidFill>
                <a:latin typeface="Helvetica Neue"/>
                <a:sym typeface="Helvetica Neue"/>
              </a:endParaRPr>
            </a:p>
          </p:txBody>
        </p:sp>
      </p:grpSp>
      <p:cxnSp>
        <p:nvCxnSpPr>
          <p:cNvPr id="1043" name="Connector: Elbow 1042">
            <a:extLst>
              <a:ext uri="{FF2B5EF4-FFF2-40B4-BE49-F238E27FC236}">
                <a16:creationId xmlns:a16="http://schemas.microsoft.com/office/drawing/2014/main" id="{A0D279B0-1280-E3C0-8D32-9078A7867C74}"/>
              </a:ext>
            </a:extLst>
          </p:cNvPr>
          <p:cNvCxnSpPr>
            <a:cxnSpLocks/>
            <a:stCxn id="53" idx="6"/>
            <a:endCxn id="19" idx="0"/>
          </p:cNvCxnSpPr>
          <p:nvPr/>
        </p:nvCxnSpPr>
        <p:spPr>
          <a:xfrm>
            <a:off x="3070032" y="1731278"/>
            <a:ext cx="3630907" cy="1707657"/>
          </a:xfrm>
          <a:prstGeom prst="bentConnector2">
            <a:avLst/>
          </a:prstGeom>
          <a:ln w="41275">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6" name="Straight Arrow Connector 1045">
            <a:extLst>
              <a:ext uri="{FF2B5EF4-FFF2-40B4-BE49-F238E27FC236}">
                <a16:creationId xmlns:a16="http://schemas.microsoft.com/office/drawing/2014/main" id="{6C4F8021-6791-779B-9E9D-89DD73BAAB50}"/>
              </a:ext>
            </a:extLst>
          </p:cNvPr>
          <p:cNvCxnSpPr>
            <a:cxnSpLocks/>
          </p:cNvCxnSpPr>
          <p:nvPr/>
        </p:nvCxnSpPr>
        <p:spPr>
          <a:xfrm>
            <a:off x="7141414" y="3742433"/>
            <a:ext cx="1297737" cy="6350"/>
          </a:xfrm>
          <a:prstGeom prst="straightConnector1">
            <a:avLst/>
          </a:prstGeom>
          <a:ln w="38100">
            <a:solidFill>
              <a:schemeClr val="accent3">
                <a:lumMod val="60000"/>
                <a:lumOff val="4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47" name="TextBox 1046">
            <a:extLst>
              <a:ext uri="{FF2B5EF4-FFF2-40B4-BE49-F238E27FC236}">
                <a16:creationId xmlns:a16="http://schemas.microsoft.com/office/drawing/2014/main" id="{5E3C2AA4-F9E2-3354-00AC-ECC75AC59C19}"/>
              </a:ext>
            </a:extLst>
          </p:cNvPr>
          <p:cNvSpPr txBox="1"/>
          <p:nvPr/>
        </p:nvSpPr>
        <p:spPr>
          <a:xfrm>
            <a:off x="4056593" y="1795263"/>
            <a:ext cx="1377374"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reprocess all contracts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8" name="TextBox 1047">
            <a:extLst>
              <a:ext uri="{FF2B5EF4-FFF2-40B4-BE49-F238E27FC236}">
                <a16:creationId xmlns:a16="http://schemas.microsoft.com/office/drawing/2014/main" id="{8B5F2E12-B218-57E5-A592-ADB2D7DA3097}"/>
              </a:ext>
            </a:extLst>
          </p:cNvPr>
          <p:cNvSpPr txBox="1"/>
          <p:nvPr/>
        </p:nvSpPr>
        <p:spPr>
          <a:xfrm>
            <a:off x="7150939" y="3528099"/>
            <a:ext cx="118295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ocument Embedding</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49" name="TextBox 1048">
            <a:extLst>
              <a:ext uri="{FF2B5EF4-FFF2-40B4-BE49-F238E27FC236}">
                <a16:creationId xmlns:a16="http://schemas.microsoft.com/office/drawing/2014/main" id="{A9706D9E-0F90-97D7-4514-71B533F7200E}"/>
              </a:ext>
            </a:extLst>
          </p:cNvPr>
          <p:cNvSpPr txBox="1"/>
          <p:nvPr/>
        </p:nvSpPr>
        <p:spPr>
          <a:xfrm>
            <a:off x="5441512" y="3651599"/>
            <a:ext cx="624059" cy="138499"/>
          </a:xfrm>
          <a:prstGeom prst="rect">
            <a:avLst/>
          </a:prstGeom>
          <a:noFill/>
        </p:spPr>
        <p:txBody>
          <a:bodyPr wrap="square" lIns="0" tIns="0" rIns="0" bIns="0" rtlCol="0">
            <a:spAutoFit/>
          </a:bodyPr>
          <a:lstStyle/>
          <a:p>
            <a:pP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0" name="TextBox 1049">
            <a:extLst>
              <a:ext uri="{FF2B5EF4-FFF2-40B4-BE49-F238E27FC236}">
                <a16:creationId xmlns:a16="http://schemas.microsoft.com/office/drawing/2014/main" id="{F8CDD219-1A13-987D-B8E9-51482818D17A}"/>
              </a:ext>
            </a:extLst>
          </p:cNvPr>
          <p:cNvSpPr txBox="1"/>
          <p:nvPr/>
        </p:nvSpPr>
        <p:spPr>
          <a:xfrm>
            <a:off x="2581100" y="4394944"/>
            <a:ext cx="1793959" cy="1800493"/>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lease show me all contract details for contract X</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Generate a summary of this contract same contract and compared with a contract of x years before </a:t>
            </a:r>
          </a:p>
          <a:p>
            <a:pPr marL="142875" indent="-142875" defTabSz="412750" hangingPunct="0">
              <a:buFont typeface="Arial" panose="020B0604020202020204" pitchFamily="34" charset="0"/>
              <a:buChar char="•"/>
            </a:pPr>
            <a:endPar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earch and extract from the repository the related contracts to the processed contract according to its category, its organization, its subjec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1" name="TextBox 1050">
            <a:extLst>
              <a:ext uri="{FF2B5EF4-FFF2-40B4-BE49-F238E27FC236}">
                <a16:creationId xmlns:a16="http://schemas.microsoft.com/office/drawing/2014/main" id="{35A23C4D-549D-D513-5F19-6B6DB2D2F5EA}"/>
              </a:ext>
            </a:extLst>
          </p:cNvPr>
          <p:cNvSpPr txBox="1"/>
          <p:nvPr/>
        </p:nvSpPr>
        <p:spPr>
          <a:xfrm>
            <a:off x="7297750" y="4103604"/>
            <a:ext cx="1106141" cy="276999"/>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Query and </a:t>
            </a:r>
          </a:p>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query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2" name="TextBox 1051">
            <a:extLst>
              <a:ext uri="{FF2B5EF4-FFF2-40B4-BE49-F238E27FC236}">
                <a16:creationId xmlns:a16="http://schemas.microsoft.com/office/drawing/2014/main" id="{7F3E7A45-3E56-F47E-8309-470658711CAA}"/>
              </a:ext>
            </a:extLst>
          </p:cNvPr>
          <p:cNvSpPr txBox="1"/>
          <p:nvPr/>
        </p:nvSpPr>
        <p:spPr>
          <a:xfrm>
            <a:off x="9270349" y="4036339"/>
            <a:ext cx="1106141" cy="415498"/>
          </a:xfrm>
          <a:prstGeom prst="rect">
            <a:avLst/>
          </a:prstGeom>
          <a:noFill/>
        </p:spPr>
        <p:txBody>
          <a:bodyPr wrap="square" lIns="0" tIns="0" rIns="0" bIns="0" rtlCol="0">
            <a:spAutoFit/>
          </a:bodyPr>
          <a:lstStyle/>
          <a:p>
            <a:pPr algn="ctr" defTabSz="412750" hangingPunct="0"/>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Prompt + query + retrieved enhanced context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3" name="TextBox 1052">
            <a:extLst>
              <a:ext uri="{FF2B5EF4-FFF2-40B4-BE49-F238E27FC236}">
                <a16:creationId xmlns:a16="http://schemas.microsoft.com/office/drawing/2014/main" id="{2300C9AA-44FD-3FB4-0FD8-6869ABFBE811}"/>
              </a:ext>
            </a:extLst>
          </p:cNvPr>
          <p:cNvSpPr txBox="1"/>
          <p:nvPr/>
        </p:nvSpPr>
        <p:spPr>
          <a:xfrm>
            <a:off x="6342106" y="4984263"/>
            <a:ext cx="3017429" cy="215444"/>
          </a:xfrm>
          <a:prstGeom prst="rect">
            <a:avLst/>
          </a:prstGeom>
          <a:noFill/>
        </p:spPr>
        <p:txBody>
          <a:bodyPr wrap="square" lIns="0" tIns="0" rIns="0" bIns="0" rtlCol="0">
            <a:spAutoFit/>
          </a:bodyPr>
          <a:lstStyle/>
          <a:p>
            <a:pPr algn="ctr" defTabSz="412750" hangingPunct="0"/>
            <a:r>
              <a:rPr lang="en-US" sz="14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Streamed text response (Generative)</a:t>
            </a:r>
            <a:endParaRPr lang="en-NL" sz="14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4" name="TextBox 1053">
            <a:extLst>
              <a:ext uri="{FF2B5EF4-FFF2-40B4-BE49-F238E27FC236}">
                <a16:creationId xmlns:a16="http://schemas.microsoft.com/office/drawing/2014/main" id="{4FD910AE-8D71-1B85-F4C7-3B26805E1A46}"/>
              </a:ext>
            </a:extLst>
          </p:cNvPr>
          <p:cNvSpPr txBox="1"/>
          <p:nvPr/>
        </p:nvSpPr>
        <p:spPr>
          <a:xfrm>
            <a:off x="2160005" y="1012443"/>
            <a:ext cx="1377374" cy="2769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mpany’s procurement, contracts  database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6" name="Oval 19">
            <a:extLst>
              <a:ext uri="{FF2B5EF4-FFF2-40B4-BE49-F238E27FC236}">
                <a16:creationId xmlns:a16="http://schemas.microsoft.com/office/drawing/2014/main" id="{5F25DDA9-B666-1511-D12B-7768F71A0E0A}"/>
              </a:ext>
            </a:extLst>
          </p:cNvPr>
          <p:cNvSpPr>
            <a:spLocks noChangeArrowheads="1"/>
          </p:cNvSpPr>
          <p:nvPr/>
        </p:nvSpPr>
        <p:spPr bwMode="auto">
          <a:xfrm>
            <a:off x="1535240" y="1559090"/>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B900"/>
                </a:solidFill>
                <a:latin typeface="Helvetica Neue"/>
                <a:sym typeface="Helvetica Neue"/>
              </a:rPr>
              <a:t>1</a:t>
            </a:r>
          </a:p>
        </p:txBody>
      </p:sp>
      <p:sp>
        <p:nvSpPr>
          <p:cNvPr id="1058" name="TextBox 1057">
            <a:extLst>
              <a:ext uri="{FF2B5EF4-FFF2-40B4-BE49-F238E27FC236}">
                <a16:creationId xmlns:a16="http://schemas.microsoft.com/office/drawing/2014/main" id="{BC309C4C-AE98-8E50-5F90-7743C356D891}"/>
              </a:ext>
            </a:extLst>
          </p:cNvPr>
          <p:cNvSpPr txBox="1"/>
          <p:nvPr/>
        </p:nvSpPr>
        <p:spPr>
          <a:xfrm>
            <a:off x="1271917" y="1954767"/>
            <a:ext cx="905102" cy="138499"/>
          </a:xfrm>
          <a:prstGeom prst="rect">
            <a:avLst/>
          </a:prstGeom>
          <a:noFill/>
        </p:spPr>
        <p:txBody>
          <a:bodyPr wrap="square" lIns="0" tIns="0" rIns="0" bIns="0" rtlCol="0">
            <a:spAutoFit/>
          </a:bodyPr>
          <a:lstStyle/>
          <a:p>
            <a:pPr defTabSz="412750" hangingPunct="0"/>
            <a:r>
              <a:rPr lang="en-US" sz="900" i="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Data preparation </a:t>
            </a:r>
            <a:endParaRPr lang="en-NL" sz="900" i="1" kern="0" err="1">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
        <p:nvSpPr>
          <p:cNvPr id="1059" name="Oval 19">
            <a:extLst>
              <a:ext uri="{FF2B5EF4-FFF2-40B4-BE49-F238E27FC236}">
                <a16:creationId xmlns:a16="http://schemas.microsoft.com/office/drawing/2014/main" id="{B16CC307-194D-FB70-6622-C05CBD806125}"/>
              </a:ext>
            </a:extLst>
          </p:cNvPr>
          <p:cNvSpPr>
            <a:spLocks noChangeArrowheads="1"/>
          </p:cNvSpPr>
          <p:nvPr/>
        </p:nvSpPr>
        <p:spPr bwMode="auto">
          <a:xfrm>
            <a:off x="1351773" y="3670648"/>
            <a:ext cx="360000" cy="360000"/>
          </a:xfrm>
          <a:prstGeom prst="ellipse">
            <a:avLst/>
          </a:prstGeom>
          <a:solidFill>
            <a:srgbClr val="2D323D"/>
          </a:solidFill>
          <a:ln>
            <a:noFill/>
          </a:ln>
        </p:spPr>
        <p:txBody>
          <a:bodyPr vert="horz" wrap="square" lIns="45720" tIns="22860" rIns="45720" bIns="22860" numCol="1" anchor="t" anchorCtr="0" compatLnSpc="1">
            <a:prstTxWarp prst="textNoShape">
              <a:avLst/>
            </a:prstTxWarp>
          </a:bodyPr>
          <a:lstStyle/>
          <a:p>
            <a:pPr algn="ctr" defTabSz="412750" hangingPunct="0"/>
            <a:r>
              <a:rPr lang="en-US" sz="1500" b="1" kern="0">
                <a:solidFill>
                  <a:srgbClr val="FFFFFF"/>
                </a:solidFill>
                <a:latin typeface="Helvetica Neue"/>
                <a:sym typeface="Helvetica Neue"/>
              </a:rPr>
              <a:t>2</a:t>
            </a:r>
          </a:p>
        </p:txBody>
      </p:sp>
      <p:sp>
        <p:nvSpPr>
          <p:cNvPr id="1060" name="TextBox 1059">
            <a:extLst>
              <a:ext uri="{FF2B5EF4-FFF2-40B4-BE49-F238E27FC236}">
                <a16:creationId xmlns:a16="http://schemas.microsoft.com/office/drawing/2014/main" id="{9C077124-BE63-0261-18ED-33BA47E4C9BB}"/>
              </a:ext>
            </a:extLst>
          </p:cNvPr>
          <p:cNvSpPr txBox="1"/>
          <p:nvPr/>
        </p:nvSpPr>
        <p:spPr>
          <a:xfrm>
            <a:off x="843065" y="4187195"/>
            <a:ext cx="1465750" cy="415498"/>
          </a:xfrm>
          <a:prstGeom prst="rect">
            <a:avLst/>
          </a:prstGeom>
          <a:noFill/>
        </p:spPr>
        <p:txBody>
          <a:bodyPr wrap="square" lIns="0" tIns="0" rIns="0" bIns="0" rtlCol="0">
            <a:spAutoFit/>
          </a:bodyPr>
          <a:lstStyle/>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User query moderation, Information retrieval, </a:t>
            </a:r>
          </a:p>
          <a:p>
            <a:pPr marL="142875" indent="-142875" defTabSz="412750" hangingPunct="0">
              <a:buFont typeface="Arial" panose="020B0604020202020204" pitchFamily="34" charset="0"/>
              <a:buChar char="•"/>
            </a:pPr>
            <a:r>
              <a:rPr lang="en-US" sz="900" i="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Response generation </a:t>
            </a:r>
            <a:endParaRPr lang="en-NL" sz="900" i="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19741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5"/>
                                        </p:tgtEl>
                                        <p:attrNameLst>
                                          <p:attrName>style.visibility</p:attrName>
                                        </p:attrNameLst>
                                      </p:cBhvr>
                                      <p:to>
                                        <p:strVal val="visible"/>
                                      </p:to>
                                    </p:set>
                                    <p:animEffect transition="in" filter="fade">
                                      <p:cBhvr>
                                        <p:cTn id="12" dur="1000"/>
                                        <p:tgtEl>
                                          <p:spTgt spid="1025"/>
                                        </p:tgtEl>
                                      </p:cBhvr>
                                    </p:animEffect>
                                    <p:anim calcmode="lin" valueType="num">
                                      <p:cBhvr>
                                        <p:cTn id="13" dur="1000" fill="hold"/>
                                        <p:tgtEl>
                                          <p:spTgt spid="1025"/>
                                        </p:tgtEl>
                                        <p:attrNameLst>
                                          <p:attrName>ppt_x</p:attrName>
                                        </p:attrNameLst>
                                      </p:cBhvr>
                                      <p:tavLst>
                                        <p:tav tm="0">
                                          <p:val>
                                            <p:strVal val="#ppt_x"/>
                                          </p:val>
                                        </p:tav>
                                        <p:tav tm="100000">
                                          <p:val>
                                            <p:strVal val="#ppt_x"/>
                                          </p:val>
                                        </p:tav>
                                      </p:tavLst>
                                    </p:anim>
                                    <p:anim calcmode="lin" valueType="num">
                                      <p:cBhvr>
                                        <p:cTn id="14" dur="1000" fill="hold"/>
                                        <p:tgtEl>
                                          <p:spTgt spid="102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27"/>
                                        </p:tgtEl>
                                        <p:attrNameLst>
                                          <p:attrName>style.visibility</p:attrName>
                                        </p:attrNameLst>
                                      </p:cBhvr>
                                      <p:to>
                                        <p:strVal val="visible"/>
                                      </p:to>
                                    </p:set>
                                    <p:animEffect transition="in" filter="fade">
                                      <p:cBhvr>
                                        <p:cTn id="17" dur="1000"/>
                                        <p:tgtEl>
                                          <p:spTgt spid="1027"/>
                                        </p:tgtEl>
                                      </p:cBhvr>
                                    </p:animEffect>
                                    <p:anim calcmode="lin" valueType="num">
                                      <p:cBhvr>
                                        <p:cTn id="18" dur="1000" fill="hold"/>
                                        <p:tgtEl>
                                          <p:spTgt spid="1027"/>
                                        </p:tgtEl>
                                        <p:attrNameLst>
                                          <p:attrName>ppt_x</p:attrName>
                                        </p:attrNameLst>
                                      </p:cBhvr>
                                      <p:tavLst>
                                        <p:tav tm="0">
                                          <p:val>
                                            <p:strVal val="#ppt_x"/>
                                          </p:val>
                                        </p:tav>
                                        <p:tav tm="100000">
                                          <p:val>
                                            <p:strVal val="#ppt_x"/>
                                          </p:val>
                                        </p:tav>
                                      </p:tavLst>
                                    </p:anim>
                                    <p:anim calcmode="lin" valueType="num">
                                      <p:cBhvr>
                                        <p:cTn id="19" dur="1000" fill="hold"/>
                                        <p:tgtEl>
                                          <p:spTgt spid="10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47"/>
                                        </p:tgtEl>
                                        <p:attrNameLst>
                                          <p:attrName>style.visibility</p:attrName>
                                        </p:attrNameLst>
                                      </p:cBhvr>
                                      <p:to>
                                        <p:strVal val="visible"/>
                                      </p:to>
                                    </p:set>
                                    <p:animEffect transition="in" filter="fade">
                                      <p:cBhvr>
                                        <p:cTn id="22" dur="1000"/>
                                        <p:tgtEl>
                                          <p:spTgt spid="1047"/>
                                        </p:tgtEl>
                                      </p:cBhvr>
                                    </p:animEffect>
                                    <p:anim calcmode="lin" valueType="num">
                                      <p:cBhvr>
                                        <p:cTn id="23" dur="1000" fill="hold"/>
                                        <p:tgtEl>
                                          <p:spTgt spid="1047"/>
                                        </p:tgtEl>
                                        <p:attrNameLst>
                                          <p:attrName>ppt_x</p:attrName>
                                        </p:attrNameLst>
                                      </p:cBhvr>
                                      <p:tavLst>
                                        <p:tav tm="0">
                                          <p:val>
                                            <p:strVal val="#ppt_x"/>
                                          </p:val>
                                        </p:tav>
                                        <p:tav tm="100000">
                                          <p:val>
                                            <p:strVal val="#ppt_x"/>
                                          </p:val>
                                        </p:tav>
                                      </p:tavLst>
                                    </p:anim>
                                    <p:anim calcmode="lin" valueType="num">
                                      <p:cBhvr>
                                        <p:cTn id="24" dur="1000" fill="hold"/>
                                        <p:tgtEl>
                                          <p:spTgt spid="104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1000"/>
                                        <p:tgtEl>
                                          <p:spTgt spid="1054"/>
                                        </p:tgtEl>
                                      </p:cBhvr>
                                    </p:animEffect>
                                    <p:anim calcmode="lin" valueType="num">
                                      <p:cBhvr>
                                        <p:cTn id="28" dur="1000" fill="hold"/>
                                        <p:tgtEl>
                                          <p:spTgt spid="1054"/>
                                        </p:tgtEl>
                                        <p:attrNameLst>
                                          <p:attrName>ppt_x</p:attrName>
                                        </p:attrNameLst>
                                      </p:cBhvr>
                                      <p:tavLst>
                                        <p:tav tm="0">
                                          <p:val>
                                            <p:strVal val="#ppt_x"/>
                                          </p:val>
                                        </p:tav>
                                        <p:tav tm="100000">
                                          <p:val>
                                            <p:strVal val="#ppt_x"/>
                                          </p:val>
                                        </p:tav>
                                      </p:tavLst>
                                    </p:anim>
                                    <p:anim calcmode="lin" valueType="num">
                                      <p:cBhvr>
                                        <p:cTn id="29" dur="1000" fill="hold"/>
                                        <p:tgtEl>
                                          <p:spTgt spid="105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56"/>
                                        </p:tgtEl>
                                        <p:attrNameLst>
                                          <p:attrName>style.visibility</p:attrName>
                                        </p:attrNameLst>
                                      </p:cBhvr>
                                      <p:to>
                                        <p:strVal val="visible"/>
                                      </p:to>
                                    </p:set>
                                    <p:animEffect transition="in" filter="fade">
                                      <p:cBhvr>
                                        <p:cTn id="32" dur="1000"/>
                                        <p:tgtEl>
                                          <p:spTgt spid="1056"/>
                                        </p:tgtEl>
                                      </p:cBhvr>
                                    </p:animEffect>
                                    <p:anim calcmode="lin" valueType="num">
                                      <p:cBhvr>
                                        <p:cTn id="33" dur="1000" fill="hold"/>
                                        <p:tgtEl>
                                          <p:spTgt spid="1056"/>
                                        </p:tgtEl>
                                        <p:attrNameLst>
                                          <p:attrName>ppt_x</p:attrName>
                                        </p:attrNameLst>
                                      </p:cBhvr>
                                      <p:tavLst>
                                        <p:tav tm="0">
                                          <p:val>
                                            <p:strVal val="#ppt_x"/>
                                          </p:val>
                                        </p:tav>
                                        <p:tav tm="100000">
                                          <p:val>
                                            <p:strVal val="#ppt_x"/>
                                          </p:val>
                                        </p:tav>
                                      </p:tavLst>
                                    </p:anim>
                                    <p:anim calcmode="lin" valueType="num">
                                      <p:cBhvr>
                                        <p:cTn id="34" dur="1000" fill="hold"/>
                                        <p:tgtEl>
                                          <p:spTgt spid="105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58"/>
                                        </p:tgtEl>
                                        <p:attrNameLst>
                                          <p:attrName>style.visibility</p:attrName>
                                        </p:attrNameLst>
                                      </p:cBhvr>
                                      <p:to>
                                        <p:strVal val="visible"/>
                                      </p:to>
                                    </p:set>
                                    <p:animEffect transition="in" filter="fade">
                                      <p:cBhvr>
                                        <p:cTn id="37" dur="1000"/>
                                        <p:tgtEl>
                                          <p:spTgt spid="1058"/>
                                        </p:tgtEl>
                                      </p:cBhvr>
                                    </p:animEffect>
                                    <p:anim calcmode="lin" valueType="num">
                                      <p:cBhvr>
                                        <p:cTn id="38" dur="1000" fill="hold"/>
                                        <p:tgtEl>
                                          <p:spTgt spid="1058"/>
                                        </p:tgtEl>
                                        <p:attrNameLst>
                                          <p:attrName>ppt_x</p:attrName>
                                        </p:attrNameLst>
                                      </p:cBhvr>
                                      <p:tavLst>
                                        <p:tav tm="0">
                                          <p:val>
                                            <p:strVal val="#ppt_x"/>
                                          </p:val>
                                        </p:tav>
                                        <p:tav tm="100000">
                                          <p:val>
                                            <p:strVal val="#ppt_x"/>
                                          </p:val>
                                        </p:tav>
                                      </p:tavLst>
                                    </p:anim>
                                    <p:anim calcmode="lin" valueType="num">
                                      <p:cBhvr>
                                        <p:cTn id="39" dur="1000" fill="hold"/>
                                        <p:tgtEl>
                                          <p:spTgt spid="105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043"/>
                                        </p:tgtEl>
                                        <p:attrNameLst>
                                          <p:attrName>style.visibility</p:attrName>
                                        </p:attrNameLst>
                                      </p:cBhvr>
                                      <p:to>
                                        <p:strVal val="visible"/>
                                      </p:to>
                                    </p:set>
                                    <p:animEffect transition="in" filter="fade">
                                      <p:cBhvr>
                                        <p:cTn id="42" dur="1000"/>
                                        <p:tgtEl>
                                          <p:spTgt spid="1043"/>
                                        </p:tgtEl>
                                      </p:cBhvr>
                                    </p:animEffect>
                                    <p:anim calcmode="lin" valueType="num">
                                      <p:cBhvr>
                                        <p:cTn id="43" dur="1000" fill="hold"/>
                                        <p:tgtEl>
                                          <p:spTgt spid="1043"/>
                                        </p:tgtEl>
                                        <p:attrNameLst>
                                          <p:attrName>ppt_x</p:attrName>
                                        </p:attrNameLst>
                                      </p:cBhvr>
                                      <p:tavLst>
                                        <p:tav tm="0">
                                          <p:val>
                                            <p:strVal val="#ppt_x"/>
                                          </p:val>
                                        </p:tav>
                                        <p:tav tm="100000">
                                          <p:val>
                                            <p:strVal val="#ppt_x"/>
                                          </p:val>
                                        </p:tav>
                                      </p:tavLst>
                                    </p:anim>
                                    <p:anim calcmode="lin" valueType="num">
                                      <p:cBhvr>
                                        <p:cTn id="44" dur="1000" fill="hold"/>
                                        <p:tgtEl>
                                          <p:spTgt spid="1043"/>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anim calcmode="lin" valueType="num">
                                      <p:cBhvr>
                                        <p:cTn id="48" dur="1000" fill="hold"/>
                                        <p:tgtEl>
                                          <p:spTgt spid="21"/>
                                        </p:tgtEl>
                                        <p:attrNameLst>
                                          <p:attrName>ppt_x</p:attrName>
                                        </p:attrNameLst>
                                      </p:cBhvr>
                                      <p:tavLst>
                                        <p:tav tm="0">
                                          <p:val>
                                            <p:strVal val="#ppt_x"/>
                                          </p:val>
                                        </p:tav>
                                        <p:tav tm="100000">
                                          <p:val>
                                            <p:strVal val="#ppt_x"/>
                                          </p:val>
                                        </p:tav>
                                      </p:tavLst>
                                    </p:anim>
                                    <p:anim calcmode="lin" valueType="num">
                                      <p:cBhvr>
                                        <p:cTn id="49" dur="1000" fill="hold"/>
                                        <p:tgtEl>
                                          <p:spTgt spid="21"/>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1000"/>
                                        <p:tgtEl>
                                          <p:spTgt spid="19"/>
                                        </p:tgtEl>
                                      </p:cBhvr>
                                    </p:animEffect>
                                    <p:anim calcmode="lin" valueType="num">
                                      <p:cBhvr>
                                        <p:cTn id="53" dur="1000" fill="hold"/>
                                        <p:tgtEl>
                                          <p:spTgt spid="19"/>
                                        </p:tgtEl>
                                        <p:attrNameLst>
                                          <p:attrName>ppt_x</p:attrName>
                                        </p:attrNameLst>
                                      </p:cBhvr>
                                      <p:tavLst>
                                        <p:tav tm="0">
                                          <p:val>
                                            <p:strVal val="#ppt_x"/>
                                          </p:val>
                                        </p:tav>
                                        <p:tav tm="100000">
                                          <p:val>
                                            <p:strVal val="#ppt_x"/>
                                          </p:val>
                                        </p:tav>
                                      </p:tavLst>
                                    </p:anim>
                                    <p:anim calcmode="lin" valueType="num">
                                      <p:cBhvr>
                                        <p:cTn id="54" dur="1000" fill="hold"/>
                                        <p:tgtEl>
                                          <p:spTgt spid="19"/>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046"/>
                                        </p:tgtEl>
                                        <p:attrNameLst>
                                          <p:attrName>style.visibility</p:attrName>
                                        </p:attrNameLst>
                                      </p:cBhvr>
                                      <p:to>
                                        <p:strVal val="visible"/>
                                      </p:to>
                                    </p:set>
                                    <p:animEffect transition="in" filter="fade">
                                      <p:cBhvr>
                                        <p:cTn id="57" dur="1000"/>
                                        <p:tgtEl>
                                          <p:spTgt spid="1046"/>
                                        </p:tgtEl>
                                      </p:cBhvr>
                                    </p:animEffect>
                                    <p:anim calcmode="lin" valueType="num">
                                      <p:cBhvr>
                                        <p:cTn id="58" dur="1000" fill="hold"/>
                                        <p:tgtEl>
                                          <p:spTgt spid="1046"/>
                                        </p:tgtEl>
                                        <p:attrNameLst>
                                          <p:attrName>ppt_x</p:attrName>
                                        </p:attrNameLst>
                                      </p:cBhvr>
                                      <p:tavLst>
                                        <p:tav tm="0">
                                          <p:val>
                                            <p:strVal val="#ppt_x"/>
                                          </p:val>
                                        </p:tav>
                                        <p:tav tm="100000">
                                          <p:val>
                                            <p:strVal val="#ppt_x"/>
                                          </p:val>
                                        </p:tav>
                                      </p:tavLst>
                                    </p:anim>
                                    <p:anim calcmode="lin" valueType="num">
                                      <p:cBhvr>
                                        <p:cTn id="59" dur="1000" fill="hold"/>
                                        <p:tgtEl>
                                          <p:spTgt spid="104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048"/>
                                        </p:tgtEl>
                                        <p:attrNameLst>
                                          <p:attrName>style.visibility</p:attrName>
                                        </p:attrNameLst>
                                      </p:cBhvr>
                                      <p:to>
                                        <p:strVal val="visible"/>
                                      </p:to>
                                    </p:set>
                                    <p:animEffect transition="in" filter="fade">
                                      <p:cBhvr>
                                        <p:cTn id="62" dur="1000"/>
                                        <p:tgtEl>
                                          <p:spTgt spid="1048"/>
                                        </p:tgtEl>
                                      </p:cBhvr>
                                    </p:animEffect>
                                    <p:anim calcmode="lin" valueType="num">
                                      <p:cBhvr>
                                        <p:cTn id="63" dur="1000" fill="hold"/>
                                        <p:tgtEl>
                                          <p:spTgt spid="1048"/>
                                        </p:tgtEl>
                                        <p:attrNameLst>
                                          <p:attrName>ppt_x</p:attrName>
                                        </p:attrNameLst>
                                      </p:cBhvr>
                                      <p:tavLst>
                                        <p:tav tm="0">
                                          <p:val>
                                            <p:strVal val="#ppt_x"/>
                                          </p:val>
                                        </p:tav>
                                        <p:tav tm="100000">
                                          <p:val>
                                            <p:strVal val="#ppt_x"/>
                                          </p:val>
                                        </p:tav>
                                      </p:tavLst>
                                    </p:anim>
                                    <p:anim calcmode="lin" valueType="num">
                                      <p:cBhvr>
                                        <p:cTn id="64" dur="1000" fill="hold"/>
                                        <p:tgtEl>
                                          <p:spTgt spid="1048"/>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1000"/>
                                        <p:tgtEl>
                                          <p:spTgt spid="28"/>
                                        </p:tgtEl>
                                      </p:cBhvr>
                                    </p:animEffect>
                                    <p:anim calcmode="lin" valueType="num">
                                      <p:cBhvr>
                                        <p:cTn id="68" dur="1000" fill="hold"/>
                                        <p:tgtEl>
                                          <p:spTgt spid="28"/>
                                        </p:tgtEl>
                                        <p:attrNameLst>
                                          <p:attrName>ppt_x</p:attrName>
                                        </p:attrNameLst>
                                      </p:cBhvr>
                                      <p:tavLst>
                                        <p:tav tm="0">
                                          <p:val>
                                            <p:strVal val="#ppt_x"/>
                                          </p:val>
                                        </p:tav>
                                        <p:tav tm="100000">
                                          <p:val>
                                            <p:strVal val="#ppt_x"/>
                                          </p:val>
                                        </p:tav>
                                      </p:tavLst>
                                    </p:anim>
                                    <p:anim calcmode="lin" valueType="num">
                                      <p:cBhvr>
                                        <p:cTn id="69" dur="1000" fill="hold"/>
                                        <p:tgtEl>
                                          <p:spTgt spid="2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026"/>
                                        </p:tgtEl>
                                        <p:attrNameLst>
                                          <p:attrName>style.visibility</p:attrName>
                                        </p:attrNameLst>
                                      </p:cBhvr>
                                      <p:to>
                                        <p:strVal val="visible"/>
                                      </p:to>
                                    </p:set>
                                    <p:animEffect transition="in" filter="fade">
                                      <p:cBhvr>
                                        <p:cTn id="72" dur="1000"/>
                                        <p:tgtEl>
                                          <p:spTgt spid="1026"/>
                                        </p:tgtEl>
                                      </p:cBhvr>
                                    </p:animEffect>
                                    <p:anim calcmode="lin" valueType="num">
                                      <p:cBhvr>
                                        <p:cTn id="73" dur="1000" fill="hold"/>
                                        <p:tgtEl>
                                          <p:spTgt spid="1026"/>
                                        </p:tgtEl>
                                        <p:attrNameLst>
                                          <p:attrName>ppt_x</p:attrName>
                                        </p:attrNameLst>
                                      </p:cBhvr>
                                      <p:tavLst>
                                        <p:tav tm="0">
                                          <p:val>
                                            <p:strVal val="#ppt_x"/>
                                          </p:val>
                                        </p:tav>
                                        <p:tav tm="100000">
                                          <p:val>
                                            <p:strVal val="#ppt_x"/>
                                          </p:val>
                                        </p:tav>
                                      </p:tavLst>
                                    </p:anim>
                                    <p:anim calcmode="lin" valueType="num">
                                      <p:cBhvr>
                                        <p:cTn id="7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2"/>
                                        </p:tgtEl>
                                        <p:attrNameLst>
                                          <p:attrName>style.visibility</p:attrName>
                                        </p:attrNameLst>
                                      </p:cBhvr>
                                      <p:to>
                                        <p:strVal val="visible"/>
                                      </p:to>
                                    </p:set>
                                    <p:animEffect transition="in" filter="fade">
                                      <p:cBhvr>
                                        <p:cTn id="79" dur="1000"/>
                                        <p:tgtEl>
                                          <p:spTgt spid="2"/>
                                        </p:tgtEl>
                                      </p:cBhvr>
                                    </p:animEffect>
                                    <p:anim calcmode="lin" valueType="num">
                                      <p:cBhvr>
                                        <p:cTn id="80" dur="1000" fill="hold"/>
                                        <p:tgtEl>
                                          <p:spTgt spid="2"/>
                                        </p:tgtEl>
                                        <p:attrNameLst>
                                          <p:attrName>ppt_x</p:attrName>
                                        </p:attrNameLst>
                                      </p:cBhvr>
                                      <p:tavLst>
                                        <p:tav tm="0">
                                          <p:val>
                                            <p:strVal val="#ppt_x"/>
                                          </p:val>
                                        </p:tav>
                                        <p:tav tm="100000">
                                          <p:val>
                                            <p:strVal val="#ppt_x"/>
                                          </p:val>
                                        </p:tav>
                                      </p:tavLst>
                                    </p:anim>
                                    <p:anim calcmode="lin" valueType="num">
                                      <p:cBhvr>
                                        <p:cTn id="81" dur="1000" fill="hold"/>
                                        <p:tgtEl>
                                          <p:spTgt spid="2"/>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4"/>
                                        </p:tgtEl>
                                        <p:attrNameLst>
                                          <p:attrName>style.visibility</p:attrName>
                                        </p:attrNameLst>
                                      </p:cBhvr>
                                      <p:to>
                                        <p:strVal val="visible"/>
                                      </p:to>
                                    </p:set>
                                    <p:animEffect transition="in" filter="fade">
                                      <p:cBhvr>
                                        <p:cTn id="84" dur="1000"/>
                                        <p:tgtEl>
                                          <p:spTgt spid="14"/>
                                        </p:tgtEl>
                                      </p:cBhvr>
                                    </p:animEffect>
                                    <p:anim calcmode="lin" valueType="num">
                                      <p:cBhvr>
                                        <p:cTn id="85" dur="1000" fill="hold"/>
                                        <p:tgtEl>
                                          <p:spTgt spid="14"/>
                                        </p:tgtEl>
                                        <p:attrNameLst>
                                          <p:attrName>ppt_x</p:attrName>
                                        </p:attrNameLst>
                                      </p:cBhvr>
                                      <p:tavLst>
                                        <p:tav tm="0">
                                          <p:val>
                                            <p:strVal val="#ppt_x"/>
                                          </p:val>
                                        </p:tav>
                                        <p:tav tm="100000">
                                          <p:val>
                                            <p:strVal val="#ppt_x"/>
                                          </p:val>
                                        </p:tav>
                                      </p:tavLst>
                                    </p:anim>
                                    <p:anim calcmode="lin" valueType="num">
                                      <p:cBhvr>
                                        <p:cTn id="86" dur="1000" fill="hold"/>
                                        <p:tgtEl>
                                          <p:spTgt spid="14"/>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
                                        </p:tgtEl>
                                        <p:attrNameLst>
                                          <p:attrName>style.visibility</p:attrName>
                                        </p:attrNameLst>
                                      </p:cBhvr>
                                      <p:to>
                                        <p:strVal val="visible"/>
                                      </p:to>
                                    </p:set>
                                    <p:animEffect transition="in" filter="fade">
                                      <p:cBhvr>
                                        <p:cTn id="89" dur="1000"/>
                                        <p:tgtEl>
                                          <p:spTgt spid="11"/>
                                        </p:tgtEl>
                                      </p:cBhvr>
                                    </p:animEffect>
                                    <p:anim calcmode="lin" valueType="num">
                                      <p:cBhvr>
                                        <p:cTn id="90" dur="1000" fill="hold"/>
                                        <p:tgtEl>
                                          <p:spTgt spid="11"/>
                                        </p:tgtEl>
                                        <p:attrNameLst>
                                          <p:attrName>ppt_x</p:attrName>
                                        </p:attrNameLst>
                                      </p:cBhvr>
                                      <p:tavLst>
                                        <p:tav tm="0">
                                          <p:val>
                                            <p:strVal val="#ppt_x"/>
                                          </p:val>
                                        </p:tav>
                                        <p:tav tm="100000">
                                          <p:val>
                                            <p:strVal val="#ppt_x"/>
                                          </p:val>
                                        </p:tav>
                                      </p:tavLst>
                                    </p:anim>
                                    <p:anim calcmode="lin" valueType="num">
                                      <p:cBhvr>
                                        <p:cTn id="91" dur="1000" fill="hold"/>
                                        <p:tgtEl>
                                          <p:spTgt spid="11"/>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13"/>
                                        </p:tgtEl>
                                        <p:attrNameLst>
                                          <p:attrName>style.visibility</p:attrName>
                                        </p:attrNameLst>
                                      </p:cBhvr>
                                      <p:to>
                                        <p:strVal val="visible"/>
                                      </p:to>
                                    </p:set>
                                    <p:animEffect transition="in" filter="fade">
                                      <p:cBhvr>
                                        <p:cTn id="94" dur="1000"/>
                                        <p:tgtEl>
                                          <p:spTgt spid="13"/>
                                        </p:tgtEl>
                                      </p:cBhvr>
                                    </p:animEffect>
                                    <p:anim calcmode="lin" valueType="num">
                                      <p:cBhvr>
                                        <p:cTn id="95" dur="1000" fill="hold"/>
                                        <p:tgtEl>
                                          <p:spTgt spid="13"/>
                                        </p:tgtEl>
                                        <p:attrNameLst>
                                          <p:attrName>ppt_x</p:attrName>
                                        </p:attrNameLst>
                                      </p:cBhvr>
                                      <p:tavLst>
                                        <p:tav tm="0">
                                          <p:val>
                                            <p:strVal val="#ppt_x"/>
                                          </p:val>
                                        </p:tav>
                                        <p:tav tm="100000">
                                          <p:val>
                                            <p:strVal val="#ppt_x"/>
                                          </p:val>
                                        </p:tav>
                                      </p:tavLst>
                                    </p:anim>
                                    <p:anim calcmode="lin" valueType="num">
                                      <p:cBhvr>
                                        <p:cTn id="96" dur="1000" fill="hold"/>
                                        <p:tgtEl>
                                          <p:spTgt spid="13"/>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23"/>
                                        </p:tgtEl>
                                        <p:attrNameLst>
                                          <p:attrName>style.visibility</p:attrName>
                                        </p:attrNameLst>
                                      </p:cBhvr>
                                      <p:to>
                                        <p:strVal val="visible"/>
                                      </p:to>
                                    </p:set>
                                    <p:animEffect transition="in" filter="fade">
                                      <p:cBhvr>
                                        <p:cTn id="99" dur="1000"/>
                                        <p:tgtEl>
                                          <p:spTgt spid="23"/>
                                        </p:tgtEl>
                                      </p:cBhvr>
                                    </p:animEffect>
                                    <p:anim calcmode="lin" valueType="num">
                                      <p:cBhvr>
                                        <p:cTn id="100" dur="1000" fill="hold"/>
                                        <p:tgtEl>
                                          <p:spTgt spid="23"/>
                                        </p:tgtEl>
                                        <p:attrNameLst>
                                          <p:attrName>ppt_x</p:attrName>
                                        </p:attrNameLst>
                                      </p:cBhvr>
                                      <p:tavLst>
                                        <p:tav tm="0">
                                          <p:val>
                                            <p:strVal val="#ppt_x"/>
                                          </p:val>
                                        </p:tav>
                                        <p:tav tm="100000">
                                          <p:val>
                                            <p:strVal val="#ppt_x"/>
                                          </p:val>
                                        </p:tav>
                                      </p:tavLst>
                                    </p:anim>
                                    <p:anim calcmode="lin" valueType="num">
                                      <p:cBhvr>
                                        <p:cTn id="101" dur="1000" fill="hold"/>
                                        <p:tgtEl>
                                          <p:spTgt spid="23"/>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0"/>
                                  </p:stCondLst>
                                  <p:childTnLst>
                                    <p:set>
                                      <p:cBhvr>
                                        <p:cTn id="103" dur="1" fill="hold">
                                          <p:stCondLst>
                                            <p:cond delay="0"/>
                                          </p:stCondLst>
                                        </p:cTn>
                                        <p:tgtEl>
                                          <p:spTgt spid="1049"/>
                                        </p:tgtEl>
                                        <p:attrNameLst>
                                          <p:attrName>style.visibility</p:attrName>
                                        </p:attrNameLst>
                                      </p:cBhvr>
                                      <p:to>
                                        <p:strVal val="visible"/>
                                      </p:to>
                                    </p:set>
                                    <p:animEffect transition="in" filter="fade">
                                      <p:cBhvr>
                                        <p:cTn id="104" dur="1000"/>
                                        <p:tgtEl>
                                          <p:spTgt spid="1049"/>
                                        </p:tgtEl>
                                      </p:cBhvr>
                                    </p:animEffect>
                                    <p:anim calcmode="lin" valueType="num">
                                      <p:cBhvr>
                                        <p:cTn id="105" dur="1000" fill="hold"/>
                                        <p:tgtEl>
                                          <p:spTgt spid="1049"/>
                                        </p:tgtEl>
                                        <p:attrNameLst>
                                          <p:attrName>ppt_x</p:attrName>
                                        </p:attrNameLst>
                                      </p:cBhvr>
                                      <p:tavLst>
                                        <p:tav tm="0">
                                          <p:val>
                                            <p:strVal val="#ppt_x"/>
                                          </p:val>
                                        </p:tav>
                                        <p:tav tm="100000">
                                          <p:val>
                                            <p:strVal val="#ppt_x"/>
                                          </p:val>
                                        </p:tav>
                                      </p:tavLst>
                                    </p:anim>
                                    <p:anim calcmode="lin" valueType="num">
                                      <p:cBhvr>
                                        <p:cTn id="106" dur="1000" fill="hold"/>
                                        <p:tgtEl>
                                          <p:spTgt spid="1049"/>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0"/>
                                  </p:stCondLst>
                                  <p:childTnLst>
                                    <p:set>
                                      <p:cBhvr>
                                        <p:cTn id="108" dur="1" fill="hold">
                                          <p:stCondLst>
                                            <p:cond delay="0"/>
                                          </p:stCondLst>
                                        </p:cTn>
                                        <p:tgtEl>
                                          <p:spTgt spid="1050"/>
                                        </p:tgtEl>
                                        <p:attrNameLst>
                                          <p:attrName>style.visibility</p:attrName>
                                        </p:attrNameLst>
                                      </p:cBhvr>
                                      <p:to>
                                        <p:strVal val="visible"/>
                                      </p:to>
                                    </p:set>
                                    <p:animEffect transition="in" filter="fade">
                                      <p:cBhvr>
                                        <p:cTn id="109" dur="1000"/>
                                        <p:tgtEl>
                                          <p:spTgt spid="1050"/>
                                        </p:tgtEl>
                                      </p:cBhvr>
                                    </p:animEffect>
                                    <p:anim calcmode="lin" valueType="num">
                                      <p:cBhvr>
                                        <p:cTn id="110" dur="1000" fill="hold"/>
                                        <p:tgtEl>
                                          <p:spTgt spid="1050"/>
                                        </p:tgtEl>
                                        <p:attrNameLst>
                                          <p:attrName>ppt_x</p:attrName>
                                        </p:attrNameLst>
                                      </p:cBhvr>
                                      <p:tavLst>
                                        <p:tav tm="0">
                                          <p:val>
                                            <p:strVal val="#ppt_x"/>
                                          </p:val>
                                        </p:tav>
                                        <p:tav tm="100000">
                                          <p:val>
                                            <p:strVal val="#ppt_x"/>
                                          </p:val>
                                        </p:tav>
                                      </p:tavLst>
                                    </p:anim>
                                    <p:anim calcmode="lin" valueType="num">
                                      <p:cBhvr>
                                        <p:cTn id="111" dur="1000" fill="hold"/>
                                        <p:tgtEl>
                                          <p:spTgt spid="1050"/>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1059"/>
                                        </p:tgtEl>
                                        <p:attrNameLst>
                                          <p:attrName>style.visibility</p:attrName>
                                        </p:attrNameLst>
                                      </p:cBhvr>
                                      <p:to>
                                        <p:strVal val="visible"/>
                                      </p:to>
                                    </p:set>
                                    <p:animEffect transition="in" filter="fade">
                                      <p:cBhvr>
                                        <p:cTn id="114" dur="1000"/>
                                        <p:tgtEl>
                                          <p:spTgt spid="1059"/>
                                        </p:tgtEl>
                                      </p:cBhvr>
                                    </p:animEffect>
                                    <p:anim calcmode="lin" valueType="num">
                                      <p:cBhvr>
                                        <p:cTn id="115" dur="1000" fill="hold"/>
                                        <p:tgtEl>
                                          <p:spTgt spid="1059"/>
                                        </p:tgtEl>
                                        <p:attrNameLst>
                                          <p:attrName>ppt_x</p:attrName>
                                        </p:attrNameLst>
                                      </p:cBhvr>
                                      <p:tavLst>
                                        <p:tav tm="0">
                                          <p:val>
                                            <p:strVal val="#ppt_x"/>
                                          </p:val>
                                        </p:tav>
                                        <p:tav tm="100000">
                                          <p:val>
                                            <p:strVal val="#ppt_x"/>
                                          </p:val>
                                        </p:tav>
                                      </p:tavLst>
                                    </p:anim>
                                    <p:anim calcmode="lin" valueType="num">
                                      <p:cBhvr>
                                        <p:cTn id="116" dur="1000" fill="hold"/>
                                        <p:tgtEl>
                                          <p:spTgt spid="1059"/>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1060"/>
                                        </p:tgtEl>
                                        <p:attrNameLst>
                                          <p:attrName>style.visibility</p:attrName>
                                        </p:attrNameLst>
                                      </p:cBhvr>
                                      <p:to>
                                        <p:strVal val="visible"/>
                                      </p:to>
                                    </p:set>
                                    <p:animEffect transition="in" filter="fade">
                                      <p:cBhvr>
                                        <p:cTn id="119" dur="1000"/>
                                        <p:tgtEl>
                                          <p:spTgt spid="1060"/>
                                        </p:tgtEl>
                                      </p:cBhvr>
                                    </p:animEffect>
                                    <p:anim calcmode="lin" valueType="num">
                                      <p:cBhvr>
                                        <p:cTn id="120" dur="1000" fill="hold"/>
                                        <p:tgtEl>
                                          <p:spTgt spid="1060"/>
                                        </p:tgtEl>
                                        <p:attrNameLst>
                                          <p:attrName>ppt_x</p:attrName>
                                        </p:attrNameLst>
                                      </p:cBhvr>
                                      <p:tavLst>
                                        <p:tav tm="0">
                                          <p:val>
                                            <p:strVal val="#ppt_x"/>
                                          </p:val>
                                        </p:tav>
                                        <p:tav tm="100000">
                                          <p:val>
                                            <p:strVal val="#ppt_x"/>
                                          </p:val>
                                        </p:tav>
                                      </p:tavLst>
                                    </p:anim>
                                    <p:anim calcmode="lin" valueType="num">
                                      <p:cBhvr>
                                        <p:cTn id="121" dur="1000" fill="hold"/>
                                        <p:tgtEl>
                                          <p:spTgt spid="1060"/>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0"/>
                                  </p:stCondLst>
                                  <p:childTnLst>
                                    <p:set>
                                      <p:cBhvr>
                                        <p:cTn id="123" dur="1" fill="hold">
                                          <p:stCondLst>
                                            <p:cond delay="0"/>
                                          </p:stCondLst>
                                        </p:cTn>
                                        <p:tgtEl>
                                          <p:spTgt spid="46"/>
                                        </p:tgtEl>
                                        <p:attrNameLst>
                                          <p:attrName>style.visibility</p:attrName>
                                        </p:attrNameLst>
                                      </p:cBhvr>
                                      <p:to>
                                        <p:strVal val="visible"/>
                                      </p:to>
                                    </p:set>
                                    <p:animEffect transition="in" filter="fade">
                                      <p:cBhvr>
                                        <p:cTn id="124" dur="1000"/>
                                        <p:tgtEl>
                                          <p:spTgt spid="46"/>
                                        </p:tgtEl>
                                      </p:cBhvr>
                                    </p:animEffect>
                                    <p:anim calcmode="lin" valueType="num">
                                      <p:cBhvr>
                                        <p:cTn id="125" dur="1000" fill="hold"/>
                                        <p:tgtEl>
                                          <p:spTgt spid="46"/>
                                        </p:tgtEl>
                                        <p:attrNameLst>
                                          <p:attrName>ppt_x</p:attrName>
                                        </p:attrNameLst>
                                      </p:cBhvr>
                                      <p:tavLst>
                                        <p:tav tm="0">
                                          <p:val>
                                            <p:strVal val="#ppt_x"/>
                                          </p:val>
                                        </p:tav>
                                        <p:tav tm="100000">
                                          <p:val>
                                            <p:strVal val="#ppt_x"/>
                                          </p:val>
                                        </p:tav>
                                      </p:tavLst>
                                    </p:anim>
                                    <p:anim calcmode="lin" valueType="num">
                                      <p:cBhvr>
                                        <p:cTn id="126" dur="1000" fill="hold"/>
                                        <p:tgtEl>
                                          <p:spTgt spid="46"/>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1053"/>
                                        </p:tgtEl>
                                        <p:attrNameLst>
                                          <p:attrName>style.visibility</p:attrName>
                                        </p:attrNameLst>
                                      </p:cBhvr>
                                      <p:to>
                                        <p:strVal val="visible"/>
                                      </p:to>
                                    </p:set>
                                    <p:animEffect transition="in" filter="fade">
                                      <p:cBhvr>
                                        <p:cTn id="129" dur="1000"/>
                                        <p:tgtEl>
                                          <p:spTgt spid="1053"/>
                                        </p:tgtEl>
                                      </p:cBhvr>
                                    </p:animEffect>
                                    <p:anim calcmode="lin" valueType="num">
                                      <p:cBhvr>
                                        <p:cTn id="130" dur="1000" fill="hold"/>
                                        <p:tgtEl>
                                          <p:spTgt spid="1053"/>
                                        </p:tgtEl>
                                        <p:attrNameLst>
                                          <p:attrName>ppt_x</p:attrName>
                                        </p:attrNameLst>
                                      </p:cBhvr>
                                      <p:tavLst>
                                        <p:tav tm="0">
                                          <p:val>
                                            <p:strVal val="#ppt_x"/>
                                          </p:val>
                                        </p:tav>
                                        <p:tav tm="100000">
                                          <p:val>
                                            <p:strVal val="#ppt_x"/>
                                          </p:val>
                                        </p:tav>
                                      </p:tavLst>
                                    </p:anim>
                                    <p:anim calcmode="lin" valueType="num">
                                      <p:cBhvr>
                                        <p:cTn id="131" dur="1000" fill="hold"/>
                                        <p:tgtEl>
                                          <p:spTgt spid="1053"/>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0"/>
                                  </p:stCondLst>
                                  <p:childTnLst>
                                    <p:set>
                                      <p:cBhvr>
                                        <p:cTn id="133" dur="1" fill="hold">
                                          <p:stCondLst>
                                            <p:cond delay="0"/>
                                          </p:stCondLst>
                                        </p:cTn>
                                        <p:tgtEl>
                                          <p:spTgt spid="26"/>
                                        </p:tgtEl>
                                        <p:attrNameLst>
                                          <p:attrName>style.visibility</p:attrName>
                                        </p:attrNameLst>
                                      </p:cBhvr>
                                      <p:to>
                                        <p:strVal val="visible"/>
                                      </p:to>
                                    </p:set>
                                    <p:animEffect transition="in" filter="fade">
                                      <p:cBhvr>
                                        <p:cTn id="134" dur="1000"/>
                                        <p:tgtEl>
                                          <p:spTgt spid="26"/>
                                        </p:tgtEl>
                                      </p:cBhvr>
                                    </p:animEffect>
                                    <p:anim calcmode="lin" valueType="num">
                                      <p:cBhvr>
                                        <p:cTn id="135" dur="1000" fill="hold"/>
                                        <p:tgtEl>
                                          <p:spTgt spid="26"/>
                                        </p:tgtEl>
                                        <p:attrNameLst>
                                          <p:attrName>ppt_x</p:attrName>
                                        </p:attrNameLst>
                                      </p:cBhvr>
                                      <p:tavLst>
                                        <p:tav tm="0">
                                          <p:val>
                                            <p:strVal val="#ppt_x"/>
                                          </p:val>
                                        </p:tav>
                                        <p:tav tm="100000">
                                          <p:val>
                                            <p:strVal val="#ppt_x"/>
                                          </p:val>
                                        </p:tav>
                                      </p:tavLst>
                                    </p:anim>
                                    <p:anim calcmode="lin" valueType="num">
                                      <p:cBhvr>
                                        <p:cTn id="136" dur="1000" fill="hold"/>
                                        <p:tgtEl>
                                          <p:spTgt spid="26"/>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1051"/>
                                        </p:tgtEl>
                                        <p:attrNameLst>
                                          <p:attrName>style.visibility</p:attrName>
                                        </p:attrNameLst>
                                      </p:cBhvr>
                                      <p:to>
                                        <p:strVal val="visible"/>
                                      </p:to>
                                    </p:set>
                                    <p:animEffect transition="in" filter="fade">
                                      <p:cBhvr>
                                        <p:cTn id="139" dur="1000"/>
                                        <p:tgtEl>
                                          <p:spTgt spid="1051"/>
                                        </p:tgtEl>
                                      </p:cBhvr>
                                    </p:animEffect>
                                    <p:anim calcmode="lin" valueType="num">
                                      <p:cBhvr>
                                        <p:cTn id="140" dur="1000" fill="hold"/>
                                        <p:tgtEl>
                                          <p:spTgt spid="1051"/>
                                        </p:tgtEl>
                                        <p:attrNameLst>
                                          <p:attrName>ppt_x</p:attrName>
                                        </p:attrNameLst>
                                      </p:cBhvr>
                                      <p:tavLst>
                                        <p:tav tm="0">
                                          <p:val>
                                            <p:strVal val="#ppt_x"/>
                                          </p:val>
                                        </p:tav>
                                        <p:tav tm="100000">
                                          <p:val>
                                            <p:strVal val="#ppt_x"/>
                                          </p:val>
                                        </p:tav>
                                      </p:tavLst>
                                    </p:anim>
                                    <p:anim calcmode="lin" valueType="num">
                                      <p:cBhvr>
                                        <p:cTn id="141" dur="1000" fill="hold"/>
                                        <p:tgtEl>
                                          <p:spTgt spid="1051"/>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1052"/>
                                        </p:tgtEl>
                                        <p:attrNameLst>
                                          <p:attrName>style.visibility</p:attrName>
                                        </p:attrNameLst>
                                      </p:cBhvr>
                                      <p:to>
                                        <p:strVal val="visible"/>
                                      </p:to>
                                    </p:set>
                                    <p:animEffect transition="in" filter="fade">
                                      <p:cBhvr>
                                        <p:cTn id="144" dur="1000"/>
                                        <p:tgtEl>
                                          <p:spTgt spid="1052"/>
                                        </p:tgtEl>
                                      </p:cBhvr>
                                    </p:animEffect>
                                    <p:anim calcmode="lin" valueType="num">
                                      <p:cBhvr>
                                        <p:cTn id="145" dur="1000" fill="hold"/>
                                        <p:tgtEl>
                                          <p:spTgt spid="1052"/>
                                        </p:tgtEl>
                                        <p:attrNameLst>
                                          <p:attrName>ppt_x</p:attrName>
                                        </p:attrNameLst>
                                      </p:cBhvr>
                                      <p:tavLst>
                                        <p:tav tm="0">
                                          <p:val>
                                            <p:strVal val="#ppt_x"/>
                                          </p:val>
                                        </p:tav>
                                        <p:tav tm="100000">
                                          <p:val>
                                            <p:strVal val="#ppt_x"/>
                                          </p:val>
                                        </p:tav>
                                      </p:tavLst>
                                    </p:anim>
                                    <p:anim calcmode="lin" valueType="num">
                                      <p:cBhvr>
                                        <p:cTn id="146" dur="1000" fill="hold"/>
                                        <p:tgtEl>
                                          <p:spTgt spid="1052"/>
                                        </p:tgtEl>
                                        <p:attrNameLst>
                                          <p:attrName>ppt_y</p:attrName>
                                        </p:attrNameLst>
                                      </p:cBhvr>
                                      <p:tavLst>
                                        <p:tav tm="0">
                                          <p:val>
                                            <p:strVal val="#ppt_y+.1"/>
                                          </p:val>
                                        </p:tav>
                                        <p:tav tm="100000">
                                          <p:val>
                                            <p:strVal val="#ppt_y"/>
                                          </p:val>
                                        </p:tav>
                                      </p:tavLst>
                                    </p:anim>
                                  </p:childTnLst>
                                </p:cTn>
                              </p:par>
                              <p:par>
                                <p:cTn id="147" presetID="42" presetClass="entr" presetSubtype="0" fill="hold" nodeType="withEffect">
                                  <p:stCondLst>
                                    <p:cond delay="0"/>
                                  </p:stCondLst>
                                  <p:childTnLst>
                                    <p:set>
                                      <p:cBhvr>
                                        <p:cTn id="148" dur="1" fill="hold">
                                          <p:stCondLst>
                                            <p:cond delay="0"/>
                                          </p:stCondLst>
                                        </p:cTn>
                                        <p:tgtEl>
                                          <p:spTgt spid="33"/>
                                        </p:tgtEl>
                                        <p:attrNameLst>
                                          <p:attrName>style.visibility</p:attrName>
                                        </p:attrNameLst>
                                      </p:cBhvr>
                                      <p:to>
                                        <p:strVal val="visible"/>
                                      </p:to>
                                    </p:set>
                                    <p:animEffect transition="in" filter="fade">
                                      <p:cBhvr>
                                        <p:cTn id="149" dur="1000"/>
                                        <p:tgtEl>
                                          <p:spTgt spid="33"/>
                                        </p:tgtEl>
                                      </p:cBhvr>
                                    </p:animEffect>
                                    <p:anim calcmode="lin" valueType="num">
                                      <p:cBhvr>
                                        <p:cTn id="150" dur="1000" fill="hold"/>
                                        <p:tgtEl>
                                          <p:spTgt spid="33"/>
                                        </p:tgtEl>
                                        <p:attrNameLst>
                                          <p:attrName>ppt_x</p:attrName>
                                        </p:attrNameLst>
                                      </p:cBhvr>
                                      <p:tavLst>
                                        <p:tav tm="0">
                                          <p:val>
                                            <p:strVal val="#ppt_x"/>
                                          </p:val>
                                        </p:tav>
                                        <p:tav tm="100000">
                                          <p:val>
                                            <p:strVal val="#ppt_x"/>
                                          </p:val>
                                        </p:tav>
                                      </p:tavLst>
                                    </p:anim>
                                    <p:anim calcmode="lin" valueType="num">
                                      <p:cBhvr>
                                        <p:cTn id="151" dur="1000" fill="hold"/>
                                        <p:tgtEl>
                                          <p:spTgt spid="33"/>
                                        </p:tgtEl>
                                        <p:attrNameLst>
                                          <p:attrName>ppt_y</p:attrName>
                                        </p:attrNameLst>
                                      </p:cBhvr>
                                      <p:tavLst>
                                        <p:tav tm="0">
                                          <p:val>
                                            <p:strVal val="#ppt_y+.1"/>
                                          </p:val>
                                        </p:tav>
                                        <p:tav tm="100000">
                                          <p:val>
                                            <p:strVal val="#ppt_y"/>
                                          </p:val>
                                        </p:tav>
                                      </p:tavLst>
                                    </p:anim>
                                  </p:childTnLst>
                                </p:cTn>
                              </p:par>
                              <p:par>
                                <p:cTn id="152" presetID="42" presetClass="entr" presetSubtype="0" fill="hold" nodeType="withEffect">
                                  <p:stCondLst>
                                    <p:cond delay="0"/>
                                  </p:stCondLst>
                                  <p:childTnLst>
                                    <p:set>
                                      <p:cBhvr>
                                        <p:cTn id="153" dur="1" fill="hold">
                                          <p:stCondLst>
                                            <p:cond delay="0"/>
                                          </p:stCondLst>
                                        </p:cTn>
                                        <p:tgtEl>
                                          <p:spTgt spid="1062"/>
                                        </p:tgtEl>
                                        <p:attrNameLst>
                                          <p:attrName>style.visibility</p:attrName>
                                        </p:attrNameLst>
                                      </p:cBhvr>
                                      <p:to>
                                        <p:strVal val="visible"/>
                                      </p:to>
                                    </p:set>
                                    <p:animEffect transition="in" filter="fade">
                                      <p:cBhvr>
                                        <p:cTn id="154" dur="1000"/>
                                        <p:tgtEl>
                                          <p:spTgt spid="1062"/>
                                        </p:tgtEl>
                                      </p:cBhvr>
                                    </p:animEffect>
                                    <p:anim calcmode="lin" valueType="num">
                                      <p:cBhvr>
                                        <p:cTn id="155" dur="1000" fill="hold"/>
                                        <p:tgtEl>
                                          <p:spTgt spid="1062"/>
                                        </p:tgtEl>
                                        <p:attrNameLst>
                                          <p:attrName>ppt_x</p:attrName>
                                        </p:attrNameLst>
                                      </p:cBhvr>
                                      <p:tavLst>
                                        <p:tav tm="0">
                                          <p:val>
                                            <p:strVal val="#ppt_x"/>
                                          </p:val>
                                        </p:tav>
                                        <p:tav tm="100000">
                                          <p:val>
                                            <p:strVal val="#ppt_x"/>
                                          </p:val>
                                        </p:tav>
                                      </p:tavLst>
                                    </p:anim>
                                    <p:anim calcmode="lin" valueType="num">
                                      <p:cBhvr>
                                        <p:cTn id="156" dur="1000" fill="hold"/>
                                        <p:tgtEl>
                                          <p:spTgt spid="10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3" grpId="0"/>
      <p:bldP spid="28" grpId="0" animBg="1"/>
      <p:bldP spid="1047" grpId="0"/>
      <p:bldP spid="1048" grpId="0"/>
      <p:bldP spid="1049" grpId="0"/>
      <p:bldP spid="1050" grpId="0"/>
      <p:bldP spid="1051" grpId="0"/>
      <p:bldP spid="1052" grpId="0"/>
      <p:bldP spid="1053" grpId="0"/>
      <p:bldP spid="1054" grpId="0"/>
      <p:bldP spid="1056" grpId="0" animBg="1"/>
      <p:bldP spid="1058" grpId="0"/>
      <p:bldP spid="1059" grpId="0" animBg="1"/>
      <p:bldP spid="106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8B88AD9-63DA-8C00-BAF8-A8D165575369}"/>
              </a:ext>
            </a:extLst>
          </p:cNvPr>
          <p:cNvGrpSpPr/>
          <p:nvPr/>
        </p:nvGrpSpPr>
        <p:grpSpPr>
          <a:xfrm>
            <a:off x="1017010" y="1836752"/>
            <a:ext cx="4186237" cy="2898256"/>
            <a:chOff x="1185405" y="2330385"/>
            <a:chExt cx="9363075" cy="5609571"/>
          </a:xfrm>
        </p:grpSpPr>
        <p:pic>
          <p:nvPicPr>
            <p:cNvPr id="3074" name="Picture 2">
              <a:extLst>
                <a:ext uri="{FF2B5EF4-FFF2-40B4-BE49-F238E27FC236}">
                  <a16:creationId xmlns:a16="http://schemas.microsoft.com/office/drawing/2014/main" id="{10782845-7490-E324-451C-00D179ABE7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9675" y="2853605"/>
              <a:ext cx="9047836" cy="50863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8C4E42-BFF1-0942-743E-11EF6AEA54B5}"/>
                </a:ext>
              </a:extLst>
            </p:cNvPr>
            <p:cNvSpPr txBox="1"/>
            <p:nvPr/>
          </p:nvSpPr>
          <p:spPr>
            <a:xfrm>
              <a:off x="1185405" y="2330385"/>
              <a:ext cx="9363075" cy="487235"/>
            </a:xfrm>
            <a:prstGeom prst="rect">
              <a:avLst/>
            </a:prstGeom>
            <a:noFill/>
          </p:spPr>
          <p:txBody>
            <a:bodyPr wrap="square">
              <a:spAutoFit/>
            </a:bodyPr>
            <a:lstStyle/>
            <a:p>
              <a:pP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ing Chat: Real-Time AI-Enhanced Browser Interactions</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2" name="Group 1">
            <a:extLst>
              <a:ext uri="{FF2B5EF4-FFF2-40B4-BE49-F238E27FC236}">
                <a16:creationId xmlns:a16="http://schemas.microsoft.com/office/drawing/2014/main" id="{0E1AF8C0-79E3-CB73-3894-7D7D96D70A99}"/>
              </a:ext>
            </a:extLst>
          </p:cNvPr>
          <p:cNvGrpSpPr/>
          <p:nvPr/>
        </p:nvGrpSpPr>
        <p:grpSpPr>
          <a:xfrm>
            <a:off x="7867942" y="1155470"/>
            <a:ext cx="2557964" cy="4938150"/>
            <a:chOff x="15735883" y="2310939"/>
            <a:chExt cx="5115928" cy="9876299"/>
          </a:xfrm>
        </p:grpSpPr>
        <p:pic>
          <p:nvPicPr>
            <p:cNvPr id="3" name="659d700a715ba44d249b9de8_Finn-transcode">
              <a:hlinkClick r:id="" action="ppaction://media"/>
              <a:extLst>
                <a:ext uri="{FF2B5EF4-FFF2-40B4-BE49-F238E27FC236}">
                  <a16:creationId xmlns:a16="http://schemas.microsoft.com/office/drawing/2014/main" id="{F4137211-4A99-87E7-6FD3-45D8ECE7664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735883" y="3092255"/>
              <a:ext cx="5115928" cy="9094983"/>
            </a:xfrm>
            <a:prstGeom prst="rect">
              <a:avLst/>
            </a:prstGeom>
          </p:spPr>
        </p:pic>
        <p:sp>
          <p:nvSpPr>
            <p:cNvPr id="10" name="TextBox 9">
              <a:extLst>
                <a:ext uri="{FF2B5EF4-FFF2-40B4-BE49-F238E27FC236}">
                  <a16:creationId xmlns:a16="http://schemas.microsoft.com/office/drawing/2014/main" id="{0221DCDA-1947-C696-6CF5-484522675D7F}"/>
                </a:ext>
              </a:extLst>
            </p:cNvPr>
            <p:cNvSpPr txBox="1"/>
            <p:nvPr/>
          </p:nvSpPr>
          <p:spPr>
            <a:xfrm>
              <a:off x="16163787" y="2310939"/>
              <a:ext cx="4260122" cy="822276"/>
            </a:xfrm>
            <a:prstGeom prst="rect">
              <a:avLst/>
            </a:prstGeom>
            <a:noFill/>
          </p:spPr>
          <p:txBody>
            <a:bodyPr wrap="square">
              <a:spAutoFit/>
            </a:bodyPr>
            <a:lstStyle/>
            <a:p>
              <a:pPr algn="ctr" defTabSz="305435" latinLnBrk="1" hangingPunct="0">
                <a:spcAft>
                  <a:spcPts val="300"/>
                </a:spcAft>
              </a:pP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Finn: </a:t>
              </a:r>
              <a:r>
                <a:rPr lang="en-US" sz="1036" b="1" kern="0" err="1">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nq’s</a:t>
              </a:r>
              <a:r>
                <a:rPr lang="en-US" sz="1036"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 AI powered personal money assistant</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
        <p:nvSpPr>
          <p:cNvPr id="11" name="TextBox 10">
            <a:extLst>
              <a:ext uri="{FF2B5EF4-FFF2-40B4-BE49-F238E27FC236}">
                <a16:creationId xmlns:a16="http://schemas.microsoft.com/office/drawing/2014/main" id="{3E6C09D7-A363-C250-8828-62A70D1F0EE9}"/>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3: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LLM Enhanced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hatbot </a:t>
            </a:r>
            <a:endPar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spTree>
    <p:extLst>
      <p:ext uri="{BB962C8B-B14F-4D97-AF65-F5344CB8AC3E}">
        <p14:creationId xmlns:p14="http://schemas.microsoft.com/office/powerpoint/2010/main" val="3142686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4F1DD41-041D-DCA4-8CDA-AA34CA24CD44}"/>
              </a:ext>
            </a:extLst>
          </p:cNvPr>
          <p:cNvSpPr txBox="1"/>
          <p:nvPr/>
        </p:nvSpPr>
        <p:spPr>
          <a:xfrm>
            <a:off x="82297" y="30582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algn="ctr"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4: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Copilots</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 </a:t>
            </a:r>
          </a:p>
        </p:txBody>
      </p:sp>
      <p:grpSp>
        <p:nvGrpSpPr>
          <p:cNvPr id="4" name="Group 3">
            <a:extLst>
              <a:ext uri="{FF2B5EF4-FFF2-40B4-BE49-F238E27FC236}">
                <a16:creationId xmlns:a16="http://schemas.microsoft.com/office/drawing/2014/main" id="{1A7E7C9D-C09F-3931-D17D-4307CB44B8E4}"/>
              </a:ext>
            </a:extLst>
          </p:cNvPr>
          <p:cNvGrpSpPr/>
          <p:nvPr/>
        </p:nvGrpSpPr>
        <p:grpSpPr>
          <a:xfrm>
            <a:off x="7821359" y="1338258"/>
            <a:ext cx="4320000" cy="3897690"/>
            <a:chOff x="15642717" y="2676515"/>
            <a:chExt cx="8640000" cy="7795380"/>
          </a:xfrm>
        </p:grpSpPr>
        <p:sp>
          <p:nvSpPr>
            <p:cNvPr id="7" name="TextBox 6">
              <a:extLst>
                <a:ext uri="{FF2B5EF4-FFF2-40B4-BE49-F238E27FC236}">
                  <a16:creationId xmlns:a16="http://schemas.microsoft.com/office/drawing/2014/main" id="{4FFD3C7F-2AD9-191E-49E6-CCD3827C015F}"/>
                </a:ext>
              </a:extLst>
            </p:cNvPr>
            <p:cNvSpPr txBox="1"/>
            <p:nvPr/>
          </p:nvSpPr>
          <p:spPr>
            <a:xfrm>
              <a:off x="16943059" y="2676515"/>
              <a:ext cx="6381716" cy="615554"/>
            </a:xfrm>
            <a:prstGeom prst="rect">
              <a:avLst/>
            </a:prstGeom>
            <a:noFill/>
          </p:spPr>
          <p:txBody>
            <a:bodyPr wrap="square">
              <a:spAutoFit/>
            </a:bodyPr>
            <a:lstStyle/>
            <a:p>
              <a:pPr defTabSz="412750" latinLnBrk="1" hangingPunct="0"/>
              <a:r>
                <a:rPr lang="en-US"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Build your own copilot or AI assistant  </a:t>
              </a:r>
              <a:endParaRPr lang="en-NL" sz="14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pic>
          <p:nvPicPr>
            <p:cNvPr id="4098" name="Picture 2" descr="Khan Academy, a free online learning service, starts testing 'Khanmigo', an  AI chatbot for tutoring - GIGAZINE">
              <a:extLst>
                <a:ext uri="{FF2B5EF4-FFF2-40B4-BE49-F238E27FC236}">
                  <a16:creationId xmlns:a16="http://schemas.microsoft.com/office/drawing/2014/main" id="{FBC0BFC1-6DB4-E04D-5E88-12A234FC2FF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03620" y="5434027"/>
              <a:ext cx="4479097" cy="381950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uolingo emails (Subscribed August 2023)">
              <a:extLst>
                <a:ext uri="{FF2B5EF4-FFF2-40B4-BE49-F238E27FC236}">
                  <a16:creationId xmlns:a16="http://schemas.microsoft.com/office/drawing/2014/main" id="{FA863AF1-F48F-7AF5-CFF8-C104B4A2E6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42717" y="5434027"/>
              <a:ext cx="3985232" cy="50378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hlinkClick r:id="rId5"/>
              <a:extLst>
                <a:ext uri="{FF2B5EF4-FFF2-40B4-BE49-F238E27FC236}">
                  <a16:creationId xmlns:a16="http://schemas.microsoft.com/office/drawing/2014/main" id="{9927AACF-7247-6662-9339-CD6940DAD4EB}"/>
                </a:ext>
              </a:extLst>
            </p:cNvPr>
            <p:cNvPicPr>
              <a:picLocks noChangeAspect="1"/>
            </p:cNvPicPr>
            <p:nvPr/>
          </p:nvPicPr>
          <p:blipFill>
            <a:blip r:embed="rId6"/>
            <a:stretch>
              <a:fillRect/>
            </a:stretch>
          </p:blipFill>
          <p:spPr>
            <a:xfrm>
              <a:off x="15642717" y="3271895"/>
              <a:ext cx="8529346" cy="2070552"/>
            </a:xfrm>
            <a:prstGeom prst="rect">
              <a:avLst/>
            </a:prstGeom>
          </p:spPr>
        </p:pic>
      </p:grpSp>
      <p:grpSp>
        <p:nvGrpSpPr>
          <p:cNvPr id="10" name="Group 9">
            <a:extLst>
              <a:ext uri="{FF2B5EF4-FFF2-40B4-BE49-F238E27FC236}">
                <a16:creationId xmlns:a16="http://schemas.microsoft.com/office/drawing/2014/main" id="{5D8EE4B3-6023-7DBE-39D9-1ABF3763A379}"/>
              </a:ext>
            </a:extLst>
          </p:cNvPr>
          <p:cNvGrpSpPr/>
          <p:nvPr/>
        </p:nvGrpSpPr>
        <p:grpSpPr>
          <a:xfrm>
            <a:off x="73312" y="1320255"/>
            <a:ext cx="3741919" cy="3908746"/>
            <a:chOff x="146624" y="2640509"/>
            <a:chExt cx="7483837" cy="7817491"/>
          </a:xfrm>
        </p:grpSpPr>
        <p:pic>
          <p:nvPicPr>
            <p:cNvPr id="5" name="Picture 4">
              <a:extLst>
                <a:ext uri="{FF2B5EF4-FFF2-40B4-BE49-F238E27FC236}">
                  <a16:creationId xmlns:a16="http://schemas.microsoft.com/office/drawing/2014/main" id="{A4285F39-5993-D68A-3F55-2D94B6F4616C}"/>
                </a:ext>
              </a:extLst>
            </p:cNvPr>
            <p:cNvPicPr>
              <a:picLocks noChangeAspect="1"/>
            </p:cNvPicPr>
            <p:nvPr/>
          </p:nvPicPr>
          <p:blipFill>
            <a:blip r:embed="rId7"/>
            <a:stretch>
              <a:fillRect/>
            </a:stretch>
          </p:blipFill>
          <p:spPr>
            <a:xfrm>
              <a:off x="164593" y="3258000"/>
              <a:ext cx="7465868" cy="7200000"/>
            </a:xfrm>
            <a:prstGeom prst="rect">
              <a:avLst/>
            </a:prstGeom>
          </p:spPr>
        </p:pic>
        <p:sp>
          <p:nvSpPr>
            <p:cNvPr id="3" name="TextBox 2">
              <a:extLst>
                <a:ext uri="{FF2B5EF4-FFF2-40B4-BE49-F238E27FC236}">
                  <a16:creationId xmlns:a16="http://schemas.microsoft.com/office/drawing/2014/main" id="{948F7F5A-C126-DA78-DD11-862485639C77}"/>
                </a:ext>
              </a:extLst>
            </p:cNvPr>
            <p:cNvSpPr txBox="1"/>
            <p:nvPr/>
          </p:nvSpPr>
          <p:spPr>
            <a:xfrm>
              <a:off x="146624" y="2640509"/>
              <a:ext cx="7483837" cy="553998"/>
            </a:xfrm>
            <a:prstGeom prst="rect">
              <a:avLst/>
            </a:prstGeom>
            <a:noFill/>
          </p:spPr>
          <p:txBody>
            <a:bodyPr wrap="square">
              <a:spAutoFit/>
            </a:bodyPr>
            <a:lstStyle/>
            <a:p>
              <a:pPr algn="ctr" defTabSz="412750" latinLnBrk="1" hangingPunct="0"/>
              <a:r>
                <a:rPr lang="en-US" sz="12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Microsoft Copilots </a:t>
              </a:r>
              <a:r>
                <a:rPr lang="en-US"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mbedded in Microsoft products </a:t>
              </a:r>
              <a:endParaRPr lang="en-NL" sz="12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grpSp>
        <p:nvGrpSpPr>
          <p:cNvPr id="12" name="Group 11">
            <a:extLst>
              <a:ext uri="{FF2B5EF4-FFF2-40B4-BE49-F238E27FC236}">
                <a16:creationId xmlns:a16="http://schemas.microsoft.com/office/drawing/2014/main" id="{F0C6C34C-AA82-546A-3425-DE539747F3F2}"/>
              </a:ext>
            </a:extLst>
          </p:cNvPr>
          <p:cNvGrpSpPr/>
          <p:nvPr/>
        </p:nvGrpSpPr>
        <p:grpSpPr>
          <a:xfrm>
            <a:off x="3755549" y="1319569"/>
            <a:ext cx="4065810" cy="3909431"/>
            <a:chOff x="7511097" y="2639138"/>
            <a:chExt cx="8131620" cy="7818862"/>
          </a:xfrm>
        </p:grpSpPr>
        <p:pic>
          <p:nvPicPr>
            <p:cNvPr id="1026" name="Picture 2" descr="Image preview">
              <a:extLst>
                <a:ext uri="{FF2B5EF4-FFF2-40B4-BE49-F238E27FC236}">
                  <a16:creationId xmlns:a16="http://schemas.microsoft.com/office/drawing/2014/main" id="{026F32D6-5DD0-8738-9B00-6FCF94B4D2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66907" y="3258000"/>
              <a:ext cx="7620000" cy="720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E270208-D9EA-3982-2475-FFB60DED762A}"/>
                </a:ext>
              </a:extLst>
            </p:cNvPr>
            <p:cNvSpPr txBox="1"/>
            <p:nvPr/>
          </p:nvSpPr>
          <p:spPr>
            <a:xfrm>
              <a:off x="7511097" y="2639138"/>
              <a:ext cx="8131620" cy="523220"/>
            </a:xfrm>
            <a:prstGeom prst="rect">
              <a:avLst/>
            </a:prstGeom>
            <a:noFill/>
          </p:spPr>
          <p:txBody>
            <a:bodyPr wrap="square">
              <a:spAutoFit/>
            </a:bodyPr>
            <a:lstStyle/>
            <a:p>
              <a:pPr algn="ctr" defTabSz="412750" latinLnBrk="1" hangingPunct="0"/>
              <a:r>
                <a:rPr lang="en-US" sz="1100" b="1"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Copilot embedded in other SaaS solution: </a:t>
              </a:r>
              <a:r>
                <a:rPr lang="en-US"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alesforce Einstein </a:t>
              </a:r>
              <a:endParaRPr lang="en-NL" sz="11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endParaRPr>
            </a:p>
          </p:txBody>
        </p:sp>
      </p:grpSp>
    </p:spTree>
    <p:extLst>
      <p:ext uri="{BB962C8B-B14F-4D97-AF65-F5344CB8AC3E}">
        <p14:creationId xmlns:p14="http://schemas.microsoft.com/office/powerpoint/2010/main" val="2146180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165F94B-70AF-4DB3-A2FD-C95E3E414D50}"/>
              </a:ext>
            </a:extLst>
          </p:cNvPr>
          <p:cNvGrpSpPr/>
          <p:nvPr/>
        </p:nvGrpSpPr>
        <p:grpSpPr>
          <a:xfrm>
            <a:off x="1331360" y="2241937"/>
            <a:ext cx="9715453" cy="2494106"/>
            <a:chOff x="3140701" y="4483874"/>
            <a:chExt cx="19430905" cy="4988211"/>
          </a:xfrm>
        </p:grpSpPr>
        <p:grpSp>
          <p:nvGrpSpPr>
            <p:cNvPr id="18" name="Group 17">
              <a:extLst>
                <a:ext uri="{FF2B5EF4-FFF2-40B4-BE49-F238E27FC236}">
                  <a16:creationId xmlns:a16="http://schemas.microsoft.com/office/drawing/2014/main" id="{842AE670-9E80-D950-365F-DE68F4B8FE10}"/>
                </a:ext>
              </a:extLst>
            </p:cNvPr>
            <p:cNvGrpSpPr/>
            <p:nvPr/>
          </p:nvGrpSpPr>
          <p:grpSpPr>
            <a:xfrm>
              <a:off x="3162130" y="7568426"/>
              <a:ext cx="3216070" cy="1809438"/>
              <a:chOff x="3345417" y="2824472"/>
              <a:chExt cx="1608035" cy="904719"/>
            </a:xfrm>
          </p:grpSpPr>
          <p:sp>
            <p:nvSpPr>
              <p:cNvPr id="19" name="TextBox 18">
                <a:extLst>
                  <a:ext uri="{FF2B5EF4-FFF2-40B4-BE49-F238E27FC236}">
                    <a16:creationId xmlns:a16="http://schemas.microsoft.com/office/drawing/2014/main" id="{54171392-888E-B561-B794-CAFE3AB9D537}"/>
                  </a:ext>
                </a:extLst>
              </p:cNvPr>
              <p:cNvSpPr txBox="1"/>
              <p:nvPr/>
            </p:nvSpPr>
            <p:spPr>
              <a:xfrm>
                <a:off x="3535663" y="3040413"/>
                <a:ext cx="1296420" cy="688778"/>
              </a:xfrm>
              <a:prstGeom prst="rect">
                <a:avLst/>
              </a:prstGeom>
              <a:noFill/>
            </p:spPr>
            <p:txBody>
              <a:bodyPr wrap="square" rtlCol="0">
                <a:spAutoFit/>
              </a:bodyPr>
              <a:lstStyle/>
              <a:p>
                <a:pPr algn="ctr" defTabSz="412750" hangingPunct="0">
                  <a:lnSpc>
                    <a:spcPct val="150000"/>
                  </a:lnSpc>
                  <a:defRPr/>
                </a:pPr>
                <a:r>
                  <a:rPr lang="en-US" sz="900" b="1" kern="0">
                    <a:solidFill>
                      <a:srgbClr val="BBC6D9"/>
                    </a:solidFill>
                    <a:latin typeface="Century Gothic" panose="020B0502020202020204" pitchFamily="34" charset="0"/>
                    <a:sym typeface="Helvetica Neue"/>
                  </a:rPr>
                  <a:t>Request status of their goods through emails and chat</a:t>
                </a:r>
              </a:p>
            </p:txBody>
          </p:sp>
          <p:sp>
            <p:nvSpPr>
              <p:cNvPr id="20" name="TextBox 19">
                <a:extLst>
                  <a:ext uri="{FF2B5EF4-FFF2-40B4-BE49-F238E27FC236}">
                    <a16:creationId xmlns:a16="http://schemas.microsoft.com/office/drawing/2014/main" id="{01389BCF-16BD-724D-579B-6BA36DC7C8D0}"/>
                  </a:ext>
                </a:extLst>
              </p:cNvPr>
              <p:cNvSpPr txBox="1"/>
              <p:nvPr/>
            </p:nvSpPr>
            <p:spPr>
              <a:xfrm>
                <a:off x="3345417" y="2824472"/>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Requesters</a:t>
                </a:r>
              </a:p>
            </p:txBody>
          </p:sp>
        </p:grpSp>
        <p:grpSp>
          <p:nvGrpSpPr>
            <p:cNvPr id="65" name="Group 64">
              <a:extLst>
                <a:ext uri="{FF2B5EF4-FFF2-40B4-BE49-F238E27FC236}">
                  <a16:creationId xmlns:a16="http://schemas.microsoft.com/office/drawing/2014/main" id="{CD766FA8-E838-68CC-868C-76E1BE2942C8}"/>
                </a:ext>
              </a:extLst>
            </p:cNvPr>
            <p:cNvGrpSpPr/>
            <p:nvPr/>
          </p:nvGrpSpPr>
          <p:grpSpPr>
            <a:xfrm>
              <a:off x="3140701" y="4483874"/>
              <a:ext cx="19430905" cy="4988211"/>
              <a:chOff x="2124701" y="2004834"/>
              <a:chExt cx="19430905" cy="4988211"/>
            </a:xfrm>
          </p:grpSpPr>
          <p:cxnSp>
            <p:nvCxnSpPr>
              <p:cNvPr id="10" name="Straight Connector 9">
                <a:extLst>
                  <a:ext uri="{FF2B5EF4-FFF2-40B4-BE49-F238E27FC236}">
                    <a16:creationId xmlns:a16="http://schemas.microsoft.com/office/drawing/2014/main" id="{FE38C7D6-28A6-32E6-AE20-DF44ECAC8547}"/>
                  </a:ext>
                </a:extLst>
              </p:cNvPr>
              <p:cNvCxnSpPr>
                <a:cxnSpLocks/>
              </p:cNvCxnSpPr>
              <p:nvPr/>
            </p:nvCxnSpPr>
            <p:spPr>
              <a:xfrm flipH="1">
                <a:off x="2124701" y="4530160"/>
                <a:ext cx="1140610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95A37A0-8A93-1223-4A22-D87D6CADD5BF}"/>
                  </a:ext>
                </a:extLst>
              </p:cNvPr>
              <p:cNvSpPr/>
              <p:nvPr/>
            </p:nvSpPr>
            <p:spPr>
              <a:xfrm rot="18848589">
                <a:off x="3659723"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2" name="Rectangle 11">
                <a:extLst>
                  <a:ext uri="{FF2B5EF4-FFF2-40B4-BE49-F238E27FC236}">
                    <a16:creationId xmlns:a16="http://schemas.microsoft.com/office/drawing/2014/main" id="{B092B64E-F292-45F4-0300-AD49CA642A6A}"/>
                  </a:ext>
                </a:extLst>
              </p:cNvPr>
              <p:cNvSpPr/>
              <p:nvPr/>
            </p:nvSpPr>
            <p:spPr>
              <a:xfrm rot="18848589">
                <a:off x="11329565" y="4325376"/>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4" name="Rectangle 13">
                <a:extLst>
                  <a:ext uri="{FF2B5EF4-FFF2-40B4-BE49-F238E27FC236}">
                    <a16:creationId xmlns:a16="http://schemas.microsoft.com/office/drawing/2014/main" id="{C92D73A1-7DFA-1A6C-8B61-4967E45E2904}"/>
                  </a:ext>
                </a:extLst>
              </p:cNvPr>
              <p:cNvSpPr/>
              <p:nvPr/>
            </p:nvSpPr>
            <p:spPr>
              <a:xfrm rot="18848589">
                <a:off x="7502915" y="4344674"/>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16" name="Freeform 124">
                <a:extLst>
                  <a:ext uri="{FF2B5EF4-FFF2-40B4-BE49-F238E27FC236}">
                    <a16:creationId xmlns:a16="http://schemas.microsoft.com/office/drawing/2014/main" id="{51DAB82E-F9FC-A391-1EB1-67FD0BD9ACB4}"/>
                  </a:ext>
                </a:extLst>
              </p:cNvPr>
              <p:cNvSpPr>
                <a:spLocks noEditPoints="1"/>
              </p:cNvSpPr>
              <p:nvPr/>
            </p:nvSpPr>
            <p:spPr bwMode="auto">
              <a:xfrm>
                <a:off x="17813547" y="2004834"/>
                <a:ext cx="720000" cy="720000"/>
              </a:xfrm>
              <a:custGeom>
                <a:avLst/>
                <a:gdLst>
                  <a:gd name="T0" fmla="*/ 39 w 176"/>
                  <a:gd name="T1" fmla="*/ 119 h 176"/>
                  <a:gd name="T2" fmla="*/ 43 w 176"/>
                  <a:gd name="T3" fmla="*/ 115 h 176"/>
                  <a:gd name="T4" fmla="*/ 44 w 176"/>
                  <a:gd name="T5" fmla="*/ 112 h 176"/>
                  <a:gd name="T6" fmla="*/ 40 w 176"/>
                  <a:gd name="T7" fmla="*/ 108 h 176"/>
                  <a:gd name="T8" fmla="*/ 37 w 176"/>
                  <a:gd name="T9" fmla="*/ 109 h 176"/>
                  <a:gd name="T10" fmla="*/ 33 w 176"/>
                  <a:gd name="T11" fmla="*/ 113 h 176"/>
                  <a:gd name="T12" fmla="*/ 32 w 176"/>
                  <a:gd name="T13" fmla="*/ 116 h 176"/>
                  <a:gd name="T14" fmla="*/ 36 w 176"/>
                  <a:gd name="T15" fmla="*/ 120 h 176"/>
                  <a:gd name="T16" fmla="*/ 39 w 176"/>
                  <a:gd name="T17" fmla="*/ 119 h 176"/>
                  <a:gd name="T18" fmla="*/ 64 w 176"/>
                  <a:gd name="T19" fmla="*/ 116 h 176"/>
                  <a:gd name="T20" fmla="*/ 60 w 176"/>
                  <a:gd name="T21" fmla="*/ 112 h 176"/>
                  <a:gd name="T22" fmla="*/ 57 w 176"/>
                  <a:gd name="T23" fmla="*/ 113 h 176"/>
                  <a:gd name="T24" fmla="*/ 17 w 176"/>
                  <a:gd name="T25" fmla="*/ 153 h 176"/>
                  <a:gd name="T26" fmla="*/ 16 w 176"/>
                  <a:gd name="T27" fmla="*/ 156 h 176"/>
                  <a:gd name="T28" fmla="*/ 20 w 176"/>
                  <a:gd name="T29" fmla="*/ 160 h 176"/>
                  <a:gd name="T30" fmla="*/ 23 w 176"/>
                  <a:gd name="T31" fmla="*/ 159 h 176"/>
                  <a:gd name="T32" fmla="*/ 63 w 176"/>
                  <a:gd name="T33" fmla="*/ 119 h 176"/>
                  <a:gd name="T34" fmla="*/ 64 w 176"/>
                  <a:gd name="T35" fmla="*/ 116 h 176"/>
                  <a:gd name="T36" fmla="*/ 64 w 176"/>
                  <a:gd name="T37" fmla="*/ 132 h 176"/>
                  <a:gd name="T38" fmla="*/ 61 w 176"/>
                  <a:gd name="T39" fmla="*/ 133 h 176"/>
                  <a:gd name="T40" fmla="*/ 49 w 176"/>
                  <a:gd name="T41" fmla="*/ 145 h 176"/>
                  <a:gd name="T42" fmla="*/ 48 w 176"/>
                  <a:gd name="T43" fmla="*/ 148 h 176"/>
                  <a:gd name="T44" fmla="*/ 52 w 176"/>
                  <a:gd name="T45" fmla="*/ 152 h 176"/>
                  <a:gd name="T46" fmla="*/ 55 w 176"/>
                  <a:gd name="T47" fmla="*/ 151 h 176"/>
                  <a:gd name="T48" fmla="*/ 67 w 176"/>
                  <a:gd name="T49" fmla="*/ 139 h 176"/>
                  <a:gd name="T50" fmla="*/ 68 w 176"/>
                  <a:gd name="T51" fmla="*/ 136 h 176"/>
                  <a:gd name="T52" fmla="*/ 64 w 176"/>
                  <a:gd name="T53" fmla="*/ 132 h 176"/>
                  <a:gd name="T54" fmla="*/ 176 w 176"/>
                  <a:gd name="T55" fmla="*/ 4 h 176"/>
                  <a:gd name="T56" fmla="*/ 172 w 176"/>
                  <a:gd name="T57" fmla="*/ 0 h 176"/>
                  <a:gd name="T58" fmla="*/ 170 w 176"/>
                  <a:gd name="T59" fmla="*/ 0 h 176"/>
                  <a:gd name="T60" fmla="*/ 170 w 176"/>
                  <a:gd name="T61" fmla="*/ 0 h 176"/>
                  <a:gd name="T62" fmla="*/ 2 w 176"/>
                  <a:gd name="T63" fmla="*/ 72 h 176"/>
                  <a:gd name="T64" fmla="*/ 2 w 176"/>
                  <a:gd name="T65" fmla="*/ 72 h 176"/>
                  <a:gd name="T66" fmla="*/ 2 w 176"/>
                  <a:gd name="T67" fmla="*/ 72 h 176"/>
                  <a:gd name="T68" fmla="*/ 2 w 176"/>
                  <a:gd name="T69" fmla="*/ 72 h 176"/>
                  <a:gd name="T70" fmla="*/ 0 w 176"/>
                  <a:gd name="T71" fmla="*/ 76 h 176"/>
                  <a:gd name="T72" fmla="*/ 3 w 176"/>
                  <a:gd name="T73" fmla="*/ 80 h 176"/>
                  <a:gd name="T74" fmla="*/ 3 w 176"/>
                  <a:gd name="T75" fmla="*/ 80 h 176"/>
                  <a:gd name="T76" fmla="*/ 69 w 176"/>
                  <a:gd name="T77" fmla="*/ 107 h 176"/>
                  <a:gd name="T78" fmla="*/ 96 w 176"/>
                  <a:gd name="T79" fmla="*/ 173 h 176"/>
                  <a:gd name="T80" fmla="*/ 96 w 176"/>
                  <a:gd name="T81" fmla="*/ 173 h 176"/>
                  <a:gd name="T82" fmla="*/ 100 w 176"/>
                  <a:gd name="T83" fmla="*/ 176 h 176"/>
                  <a:gd name="T84" fmla="*/ 104 w 176"/>
                  <a:gd name="T85" fmla="*/ 174 h 176"/>
                  <a:gd name="T86" fmla="*/ 104 w 176"/>
                  <a:gd name="T87" fmla="*/ 174 h 176"/>
                  <a:gd name="T88" fmla="*/ 104 w 176"/>
                  <a:gd name="T89" fmla="*/ 174 h 176"/>
                  <a:gd name="T90" fmla="*/ 104 w 176"/>
                  <a:gd name="T91" fmla="*/ 174 h 176"/>
                  <a:gd name="T92" fmla="*/ 176 w 176"/>
                  <a:gd name="T93" fmla="*/ 6 h 176"/>
                  <a:gd name="T94" fmla="*/ 176 w 176"/>
                  <a:gd name="T95" fmla="*/ 6 h 176"/>
                  <a:gd name="T96" fmla="*/ 176 w 176"/>
                  <a:gd name="T97" fmla="*/ 4 h 176"/>
                  <a:gd name="T98" fmla="*/ 14 w 176"/>
                  <a:gd name="T99" fmla="*/ 76 h 176"/>
                  <a:gd name="T100" fmla="*/ 154 w 176"/>
                  <a:gd name="T101" fmla="*/ 16 h 176"/>
                  <a:gd name="T102" fmla="*/ 71 w 176"/>
                  <a:gd name="T103" fmla="*/ 99 h 176"/>
                  <a:gd name="T104" fmla="*/ 14 w 176"/>
                  <a:gd name="T105" fmla="*/ 76 h 176"/>
                  <a:gd name="T106" fmla="*/ 100 w 176"/>
                  <a:gd name="T107" fmla="*/ 162 h 176"/>
                  <a:gd name="T108" fmla="*/ 77 w 176"/>
                  <a:gd name="T109" fmla="*/ 105 h 176"/>
                  <a:gd name="T110" fmla="*/ 160 w 176"/>
                  <a:gd name="T111" fmla="*/ 22 h 176"/>
                  <a:gd name="T112" fmla="*/ 100 w 176"/>
                  <a:gd name="T113" fmla="*/ 1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76">
                    <a:moveTo>
                      <a:pt x="39" y="119"/>
                    </a:moveTo>
                    <a:cubicBezTo>
                      <a:pt x="43" y="115"/>
                      <a:pt x="43" y="115"/>
                      <a:pt x="43" y="115"/>
                    </a:cubicBezTo>
                    <a:cubicBezTo>
                      <a:pt x="44" y="114"/>
                      <a:pt x="44" y="113"/>
                      <a:pt x="44" y="112"/>
                    </a:cubicBezTo>
                    <a:cubicBezTo>
                      <a:pt x="44" y="110"/>
                      <a:pt x="42" y="108"/>
                      <a:pt x="40" y="108"/>
                    </a:cubicBezTo>
                    <a:cubicBezTo>
                      <a:pt x="39" y="108"/>
                      <a:pt x="38" y="108"/>
                      <a:pt x="37" y="109"/>
                    </a:cubicBezTo>
                    <a:cubicBezTo>
                      <a:pt x="33" y="113"/>
                      <a:pt x="33" y="113"/>
                      <a:pt x="33" y="113"/>
                    </a:cubicBezTo>
                    <a:cubicBezTo>
                      <a:pt x="32" y="114"/>
                      <a:pt x="32" y="115"/>
                      <a:pt x="32" y="116"/>
                    </a:cubicBezTo>
                    <a:cubicBezTo>
                      <a:pt x="32" y="118"/>
                      <a:pt x="34" y="120"/>
                      <a:pt x="36" y="120"/>
                    </a:cubicBezTo>
                    <a:cubicBezTo>
                      <a:pt x="37" y="120"/>
                      <a:pt x="38" y="120"/>
                      <a:pt x="39" y="119"/>
                    </a:cubicBezTo>
                    <a:moveTo>
                      <a:pt x="64" y="116"/>
                    </a:moveTo>
                    <a:cubicBezTo>
                      <a:pt x="64" y="114"/>
                      <a:pt x="62" y="112"/>
                      <a:pt x="60" y="112"/>
                    </a:cubicBezTo>
                    <a:cubicBezTo>
                      <a:pt x="59" y="112"/>
                      <a:pt x="58" y="112"/>
                      <a:pt x="57" y="113"/>
                    </a:cubicBezTo>
                    <a:cubicBezTo>
                      <a:pt x="17" y="153"/>
                      <a:pt x="17" y="153"/>
                      <a:pt x="17" y="153"/>
                    </a:cubicBezTo>
                    <a:cubicBezTo>
                      <a:pt x="16" y="154"/>
                      <a:pt x="16" y="155"/>
                      <a:pt x="16" y="156"/>
                    </a:cubicBezTo>
                    <a:cubicBezTo>
                      <a:pt x="16" y="158"/>
                      <a:pt x="18" y="160"/>
                      <a:pt x="20" y="160"/>
                    </a:cubicBezTo>
                    <a:cubicBezTo>
                      <a:pt x="21" y="160"/>
                      <a:pt x="22" y="160"/>
                      <a:pt x="23" y="159"/>
                    </a:cubicBezTo>
                    <a:cubicBezTo>
                      <a:pt x="63" y="119"/>
                      <a:pt x="63" y="119"/>
                      <a:pt x="63" y="119"/>
                    </a:cubicBezTo>
                    <a:cubicBezTo>
                      <a:pt x="64" y="118"/>
                      <a:pt x="64" y="117"/>
                      <a:pt x="64" y="116"/>
                    </a:cubicBezTo>
                    <a:moveTo>
                      <a:pt x="64" y="132"/>
                    </a:moveTo>
                    <a:cubicBezTo>
                      <a:pt x="63" y="132"/>
                      <a:pt x="62" y="132"/>
                      <a:pt x="61" y="133"/>
                    </a:cubicBezTo>
                    <a:cubicBezTo>
                      <a:pt x="49" y="145"/>
                      <a:pt x="49" y="145"/>
                      <a:pt x="49" y="145"/>
                    </a:cubicBezTo>
                    <a:cubicBezTo>
                      <a:pt x="48" y="146"/>
                      <a:pt x="48" y="147"/>
                      <a:pt x="48" y="148"/>
                    </a:cubicBezTo>
                    <a:cubicBezTo>
                      <a:pt x="48" y="150"/>
                      <a:pt x="50" y="152"/>
                      <a:pt x="52" y="152"/>
                    </a:cubicBezTo>
                    <a:cubicBezTo>
                      <a:pt x="53" y="152"/>
                      <a:pt x="54" y="152"/>
                      <a:pt x="55" y="151"/>
                    </a:cubicBezTo>
                    <a:cubicBezTo>
                      <a:pt x="67" y="139"/>
                      <a:pt x="67" y="139"/>
                      <a:pt x="67" y="139"/>
                    </a:cubicBezTo>
                    <a:cubicBezTo>
                      <a:pt x="68" y="138"/>
                      <a:pt x="68" y="137"/>
                      <a:pt x="68" y="136"/>
                    </a:cubicBezTo>
                    <a:cubicBezTo>
                      <a:pt x="68" y="134"/>
                      <a:pt x="66" y="132"/>
                      <a:pt x="64" y="132"/>
                    </a:cubicBezTo>
                    <a:moveTo>
                      <a:pt x="176" y="4"/>
                    </a:moveTo>
                    <a:cubicBezTo>
                      <a:pt x="176" y="2"/>
                      <a:pt x="174" y="0"/>
                      <a:pt x="172" y="0"/>
                    </a:cubicBezTo>
                    <a:cubicBezTo>
                      <a:pt x="171" y="0"/>
                      <a:pt x="171" y="0"/>
                      <a:pt x="170" y="0"/>
                    </a:cubicBezTo>
                    <a:cubicBezTo>
                      <a:pt x="170" y="0"/>
                      <a:pt x="170" y="0"/>
                      <a:pt x="170" y="0"/>
                    </a:cubicBezTo>
                    <a:cubicBezTo>
                      <a:pt x="2" y="72"/>
                      <a:pt x="2" y="72"/>
                      <a:pt x="2" y="72"/>
                    </a:cubicBezTo>
                    <a:cubicBezTo>
                      <a:pt x="2" y="72"/>
                      <a:pt x="2" y="72"/>
                      <a:pt x="2" y="72"/>
                    </a:cubicBezTo>
                    <a:cubicBezTo>
                      <a:pt x="2" y="72"/>
                      <a:pt x="2" y="72"/>
                      <a:pt x="2" y="72"/>
                    </a:cubicBezTo>
                    <a:cubicBezTo>
                      <a:pt x="2" y="72"/>
                      <a:pt x="2" y="72"/>
                      <a:pt x="2" y="72"/>
                    </a:cubicBezTo>
                    <a:cubicBezTo>
                      <a:pt x="1" y="73"/>
                      <a:pt x="0" y="74"/>
                      <a:pt x="0" y="76"/>
                    </a:cubicBezTo>
                    <a:cubicBezTo>
                      <a:pt x="0" y="78"/>
                      <a:pt x="1" y="79"/>
                      <a:pt x="3" y="80"/>
                    </a:cubicBezTo>
                    <a:cubicBezTo>
                      <a:pt x="3" y="80"/>
                      <a:pt x="3" y="80"/>
                      <a:pt x="3" y="80"/>
                    </a:cubicBezTo>
                    <a:cubicBezTo>
                      <a:pt x="69" y="107"/>
                      <a:pt x="69" y="107"/>
                      <a:pt x="69" y="107"/>
                    </a:cubicBezTo>
                    <a:cubicBezTo>
                      <a:pt x="96" y="173"/>
                      <a:pt x="96" y="173"/>
                      <a:pt x="96" y="173"/>
                    </a:cubicBezTo>
                    <a:cubicBezTo>
                      <a:pt x="96" y="173"/>
                      <a:pt x="96" y="173"/>
                      <a:pt x="96" y="173"/>
                    </a:cubicBezTo>
                    <a:cubicBezTo>
                      <a:pt x="97" y="175"/>
                      <a:pt x="98" y="176"/>
                      <a:pt x="100" y="176"/>
                    </a:cubicBezTo>
                    <a:cubicBezTo>
                      <a:pt x="102" y="176"/>
                      <a:pt x="103" y="175"/>
                      <a:pt x="104" y="174"/>
                    </a:cubicBezTo>
                    <a:cubicBezTo>
                      <a:pt x="104" y="174"/>
                      <a:pt x="104" y="174"/>
                      <a:pt x="104" y="174"/>
                    </a:cubicBezTo>
                    <a:cubicBezTo>
                      <a:pt x="104" y="174"/>
                      <a:pt x="104" y="174"/>
                      <a:pt x="104" y="174"/>
                    </a:cubicBezTo>
                    <a:cubicBezTo>
                      <a:pt x="104" y="174"/>
                      <a:pt x="104" y="174"/>
                      <a:pt x="104" y="174"/>
                    </a:cubicBezTo>
                    <a:cubicBezTo>
                      <a:pt x="176" y="6"/>
                      <a:pt x="176" y="6"/>
                      <a:pt x="176" y="6"/>
                    </a:cubicBezTo>
                    <a:cubicBezTo>
                      <a:pt x="176" y="6"/>
                      <a:pt x="176" y="6"/>
                      <a:pt x="176" y="6"/>
                    </a:cubicBezTo>
                    <a:cubicBezTo>
                      <a:pt x="176" y="5"/>
                      <a:pt x="176" y="5"/>
                      <a:pt x="176" y="4"/>
                    </a:cubicBezTo>
                    <a:moveTo>
                      <a:pt x="14" y="76"/>
                    </a:moveTo>
                    <a:cubicBezTo>
                      <a:pt x="154" y="16"/>
                      <a:pt x="154" y="16"/>
                      <a:pt x="154" y="16"/>
                    </a:cubicBezTo>
                    <a:cubicBezTo>
                      <a:pt x="71" y="99"/>
                      <a:pt x="71" y="99"/>
                      <a:pt x="71" y="99"/>
                    </a:cubicBezTo>
                    <a:lnTo>
                      <a:pt x="14" y="76"/>
                    </a:lnTo>
                    <a:close/>
                    <a:moveTo>
                      <a:pt x="100" y="162"/>
                    </a:moveTo>
                    <a:cubicBezTo>
                      <a:pt x="77" y="105"/>
                      <a:pt x="77" y="105"/>
                      <a:pt x="77" y="105"/>
                    </a:cubicBezTo>
                    <a:cubicBezTo>
                      <a:pt x="160" y="22"/>
                      <a:pt x="160" y="22"/>
                      <a:pt x="160" y="22"/>
                    </a:cubicBezTo>
                    <a:lnTo>
                      <a:pt x="100" y="162"/>
                    </a:lnTo>
                    <a:close/>
                  </a:path>
                </a:pathLst>
              </a:custGeom>
              <a:solidFill>
                <a:srgbClr val="AEB7C7"/>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sym typeface="Helvetica Neue"/>
                </a:endParaRPr>
              </a:p>
            </p:txBody>
          </p:sp>
          <p:grpSp>
            <p:nvGrpSpPr>
              <p:cNvPr id="21" name="Group 20">
                <a:extLst>
                  <a:ext uri="{FF2B5EF4-FFF2-40B4-BE49-F238E27FC236}">
                    <a16:creationId xmlns:a16="http://schemas.microsoft.com/office/drawing/2014/main" id="{DA8AC935-F5F9-8309-9376-18BC0996C8CE}"/>
                  </a:ext>
                </a:extLst>
              </p:cNvPr>
              <p:cNvGrpSpPr/>
              <p:nvPr/>
            </p:nvGrpSpPr>
            <p:grpSpPr>
              <a:xfrm>
                <a:off x="6069340" y="5099001"/>
                <a:ext cx="3216070" cy="1393466"/>
                <a:chOff x="5307022" y="2829279"/>
                <a:chExt cx="1608035" cy="696733"/>
              </a:xfrm>
            </p:grpSpPr>
            <p:sp>
              <p:nvSpPr>
                <p:cNvPr id="22" name="TextBox 21">
                  <a:extLst>
                    <a:ext uri="{FF2B5EF4-FFF2-40B4-BE49-F238E27FC236}">
                      <a16:creationId xmlns:a16="http://schemas.microsoft.com/office/drawing/2014/main" id="{7A981C33-012D-BCB8-6459-DF676B05F5C5}"/>
                    </a:ext>
                  </a:extLst>
                </p:cNvPr>
                <p:cNvSpPr txBox="1"/>
                <p:nvPr/>
              </p:nvSpPr>
              <p:spPr>
                <a:xfrm>
                  <a:off x="5460007" y="3044983"/>
                  <a:ext cx="1351566" cy="481029"/>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ad and understand requests</a:t>
                  </a:r>
                </a:p>
              </p:txBody>
            </p:sp>
            <p:sp>
              <p:nvSpPr>
                <p:cNvPr id="23" name="TextBox 22">
                  <a:extLst>
                    <a:ext uri="{FF2B5EF4-FFF2-40B4-BE49-F238E27FC236}">
                      <a16:creationId xmlns:a16="http://schemas.microsoft.com/office/drawing/2014/main" id="{A4BA03D8-2081-D4D7-E9A5-9F4EEE63E7B0}"/>
                    </a:ext>
                  </a:extLst>
                </p:cNvPr>
                <p:cNvSpPr txBox="1"/>
                <p:nvPr/>
              </p:nvSpPr>
              <p:spPr>
                <a:xfrm>
                  <a:off x="5307022" y="2829279"/>
                  <a:ext cx="160803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grpSp>
            <p:nvGrpSpPr>
              <p:cNvPr id="24" name="Group 23">
                <a:extLst>
                  <a:ext uri="{FF2B5EF4-FFF2-40B4-BE49-F238E27FC236}">
                    <a16:creationId xmlns:a16="http://schemas.microsoft.com/office/drawing/2014/main" id="{251155D7-538D-38AB-270D-CC9E75C24767}"/>
                  </a:ext>
                </a:extLst>
              </p:cNvPr>
              <p:cNvGrpSpPr/>
              <p:nvPr/>
            </p:nvGrpSpPr>
            <p:grpSpPr>
              <a:xfrm>
                <a:off x="17784941" y="3095311"/>
                <a:ext cx="3598950" cy="1770222"/>
                <a:chOff x="7131398" y="2824472"/>
                <a:chExt cx="1799475" cy="885111"/>
              </a:xfrm>
            </p:grpSpPr>
            <p:sp>
              <p:nvSpPr>
                <p:cNvPr id="25" name="TextBox 24">
                  <a:extLst>
                    <a:ext uri="{FF2B5EF4-FFF2-40B4-BE49-F238E27FC236}">
                      <a16:creationId xmlns:a16="http://schemas.microsoft.com/office/drawing/2014/main" id="{1E6896E3-4F87-6D7E-B40B-298561951ADF}"/>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Retrieve the POD and send it to the requester </a:t>
                  </a:r>
                </a:p>
              </p:txBody>
            </p:sp>
            <p:sp>
              <p:nvSpPr>
                <p:cNvPr id="26" name="TextBox 25">
                  <a:extLst>
                    <a:ext uri="{FF2B5EF4-FFF2-40B4-BE49-F238E27FC236}">
                      <a16:creationId xmlns:a16="http://schemas.microsoft.com/office/drawing/2014/main" id="{C2F243D0-4124-81FC-E93D-6400491C0C02}"/>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30" name="Freeform 153">
                <a:extLst>
                  <a:ext uri="{FF2B5EF4-FFF2-40B4-BE49-F238E27FC236}">
                    <a16:creationId xmlns:a16="http://schemas.microsoft.com/office/drawing/2014/main" id="{BB2A6E3A-518F-2745-33D3-155E0A04F2DD}"/>
                  </a:ext>
                </a:extLst>
              </p:cNvPr>
              <p:cNvSpPr>
                <a:spLocks noEditPoints="1"/>
              </p:cNvSpPr>
              <p:nvPr/>
            </p:nvSpPr>
            <p:spPr bwMode="auto">
              <a:xfrm>
                <a:off x="3377555" y="3212117"/>
                <a:ext cx="915640" cy="836842"/>
              </a:xfrm>
              <a:custGeom>
                <a:avLst/>
                <a:gdLst>
                  <a:gd name="T0" fmla="*/ 139 w 185"/>
                  <a:gd name="T1" fmla="*/ 104 h 169"/>
                  <a:gd name="T2" fmla="*/ 151 w 185"/>
                  <a:gd name="T3" fmla="*/ 64 h 169"/>
                  <a:gd name="T4" fmla="*/ 138 w 185"/>
                  <a:gd name="T5" fmla="*/ 12 h 169"/>
                  <a:gd name="T6" fmla="*/ 109 w 185"/>
                  <a:gd name="T7" fmla="*/ 12 h 169"/>
                  <a:gd name="T8" fmla="*/ 113 w 185"/>
                  <a:gd name="T9" fmla="*/ 20 h 169"/>
                  <a:gd name="T10" fmla="*/ 134 w 185"/>
                  <a:gd name="T11" fmla="*/ 19 h 169"/>
                  <a:gd name="T12" fmla="*/ 144 w 185"/>
                  <a:gd name="T13" fmla="*/ 59 h 169"/>
                  <a:gd name="T14" fmla="*/ 143 w 185"/>
                  <a:gd name="T15" fmla="*/ 76 h 169"/>
                  <a:gd name="T16" fmla="*/ 141 w 185"/>
                  <a:gd name="T17" fmla="*/ 78 h 169"/>
                  <a:gd name="T18" fmla="*/ 152 w 185"/>
                  <a:gd name="T19" fmla="*/ 132 h 169"/>
                  <a:gd name="T20" fmla="*/ 150 w 185"/>
                  <a:gd name="T21" fmla="*/ 152 h 169"/>
                  <a:gd name="T22" fmla="*/ 181 w 185"/>
                  <a:gd name="T23" fmla="*/ 161 h 169"/>
                  <a:gd name="T24" fmla="*/ 155 w 185"/>
                  <a:gd name="T25" fmla="*/ 124 h 169"/>
                  <a:gd name="T26" fmla="*/ 92 w 185"/>
                  <a:gd name="T27" fmla="*/ 106 h 169"/>
                  <a:gd name="T28" fmla="*/ 104 w 185"/>
                  <a:gd name="T29" fmla="*/ 61 h 169"/>
                  <a:gd name="T30" fmla="*/ 91 w 185"/>
                  <a:gd name="T31" fmla="*/ 3 h 169"/>
                  <a:gd name="T32" fmla="*/ 57 w 185"/>
                  <a:gd name="T33" fmla="*/ 5 h 169"/>
                  <a:gd name="T34" fmla="*/ 39 w 185"/>
                  <a:gd name="T35" fmla="*/ 61 h 169"/>
                  <a:gd name="T36" fmla="*/ 50 w 185"/>
                  <a:gd name="T37" fmla="*/ 106 h 169"/>
                  <a:gd name="T38" fmla="*/ 0 w 185"/>
                  <a:gd name="T39" fmla="*/ 165 h 169"/>
                  <a:gd name="T40" fmla="*/ 139 w 185"/>
                  <a:gd name="T41" fmla="*/ 169 h 169"/>
                  <a:gd name="T42" fmla="*/ 109 w 185"/>
                  <a:gd name="T43" fmla="*/ 128 h 169"/>
                  <a:gd name="T44" fmla="*/ 36 w 185"/>
                  <a:gd name="T45" fmla="*/ 136 h 169"/>
                  <a:gd name="T46" fmla="*/ 49 w 185"/>
                  <a:gd name="T47" fmla="*/ 78 h 169"/>
                  <a:gd name="T48" fmla="*/ 47 w 185"/>
                  <a:gd name="T49" fmla="*/ 76 h 169"/>
                  <a:gd name="T50" fmla="*/ 47 w 185"/>
                  <a:gd name="T51" fmla="*/ 57 h 169"/>
                  <a:gd name="T52" fmla="*/ 60 w 185"/>
                  <a:gd name="T53" fmla="*/ 13 h 169"/>
                  <a:gd name="T54" fmla="*/ 77 w 185"/>
                  <a:gd name="T55" fmla="*/ 9 h 169"/>
                  <a:gd name="T56" fmla="*/ 97 w 185"/>
                  <a:gd name="T57" fmla="*/ 25 h 169"/>
                  <a:gd name="T58" fmla="*/ 96 w 185"/>
                  <a:gd name="T59" fmla="*/ 63 h 169"/>
                  <a:gd name="T60" fmla="*/ 95 w 185"/>
                  <a:gd name="T61" fmla="*/ 77 h 169"/>
                  <a:gd name="T62" fmla="*/ 84 w 185"/>
                  <a:gd name="T63" fmla="*/ 106 h 169"/>
                  <a:gd name="T64" fmla="*/ 134 w 185"/>
                  <a:gd name="T6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69">
                    <a:moveTo>
                      <a:pt x="155" y="124"/>
                    </a:moveTo>
                    <a:cubicBezTo>
                      <a:pt x="155" y="124"/>
                      <a:pt x="139" y="120"/>
                      <a:pt x="139" y="104"/>
                    </a:cubicBezTo>
                    <a:cubicBezTo>
                      <a:pt x="139" y="90"/>
                      <a:pt x="146" y="85"/>
                      <a:pt x="149" y="82"/>
                    </a:cubicBezTo>
                    <a:cubicBezTo>
                      <a:pt x="149" y="82"/>
                      <a:pt x="154" y="78"/>
                      <a:pt x="151" y="64"/>
                    </a:cubicBezTo>
                    <a:cubicBezTo>
                      <a:pt x="156" y="56"/>
                      <a:pt x="158" y="43"/>
                      <a:pt x="151" y="28"/>
                    </a:cubicBezTo>
                    <a:cubicBezTo>
                      <a:pt x="148" y="19"/>
                      <a:pt x="143" y="14"/>
                      <a:pt x="138" y="12"/>
                    </a:cubicBezTo>
                    <a:cubicBezTo>
                      <a:pt x="134" y="9"/>
                      <a:pt x="129" y="9"/>
                      <a:pt x="125" y="9"/>
                    </a:cubicBezTo>
                    <a:cubicBezTo>
                      <a:pt x="119" y="9"/>
                      <a:pt x="113" y="10"/>
                      <a:pt x="109" y="12"/>
                    </a:cubicBezTo>
                    <a:cubicBezTo>
                      <a:pt x="110" y="14"/>
                      <a:pt x="111" y="16"/>
                      <a:pt x="112" y="19"/>
                    </a:cubicBezTo>
                    <a:cubicBezTo>
                      <a:pt x="112" y="19"/>
                      <a:pt x="113" y="19"/>
                      <a:pt x="113" y="20"/>
                    </a:cubicBezTo>
                    <a:cubicBezTo>
                      <a:pt x="115" y="19"/>
                      <a:pt x="120" y="17"/>
                      <a:pt x="125" y="17"/>
                    </a:cubicBezTo>
                    <a:cubicBezTo>
                      <a:pt x="128" y="17"/>
                      <a:pt x="131" y="18"/>
                      <a:pt x="134" y="19"/>
                    </a:cubicBezTo>
                    <a:cubicBezTo>
                      <a:pt x="136" y="20"/>
                      <a:pt x="140" y="23"/>
                      <a:pt x="144" y="32"/>
                    </a:cubicBezTo>
                    <a:cubicBezTo>
                      <a:pt x="149" y="44"/>
                      <a:pt x="147" y="54"/>
                      <a:pt x="144" y="59"/>
                    </a:cubicBezTo>
                    <a:cubicBezTo>
                      <a:pt x="142" y="61"/>
                      <a:pt x="142" y="63"/>
                      <a:pt x="142" y="66"/>
                    </a:cubicBezTo>
                    <a:cubicBezTo>
                      <a:pt x="144" y="73"/>
                      <a:pt x="143" y="76"/>
                      <a:pt x="143" y="76"/>
                    </a:cubicBezTo>
                    <a:cubicBezTo>
                      <a:pt x="142" y="76"/>
                      <a:pt x="142" y="77"/>
                      <a:pt x="142" y="77"/>
                    </a:cubicBezTo>
                    <a:cubicBezTo>
                      <a:pt x="142" y="77"/>
                      <a:pt x="141" y="78"/>
                      <a:pt x="141" y="78"/>
                    </a:cubicBezTo>
                    <a:cubicBezTo>
                      <a:pt x="137" y="82"/>
                      <a:pt x="130" y="89"/>
                      <a:pt x="130" y="104"/>
                    </a:cubicBezTo>
                    <a:cubicBezTo>
                      <a:pt x="130" y="122"/>
                      <a:pt x="144" y="130"/>
                      <a:pt x="152" y="132"/>
                    </a:cubicBezTo>
                    <a:cubicBezTo>
                      <a:pt x="163" y="135"/>
                      <a:pt x="174" y="140"/>
                      <a:pt x="176" y="152"/>
                    </a:cubicBezTo>
                    <a:cubicBezTo>
                      <a:pt x="150" y="152"/>
                      <a:pt x="150" y="152"/>
                      <a:pt x="150" y="152"/>
                    </a:cubicBezTo>
                    <a:cubicBezTo>
                      <a:pt x="150" y="155"/>
                      <a:pt x="151" y="158"/>
                      <a:pt x="151" y="161"/>
                    </a:cubicBezTo>
                    <a:cubicBezTo>
                      <a:pt x="181" y="161"/>
                      <a:pt x="181" y="161"/>
                      <a:pt x="181" y="161"/>
                    </a:cubicBezTo>
                    <a:cubicBezTo>
                      <a:pt x="185" y="161"/>
                      <a:pt x="185" y="157"/>
                      <a:pt x="185" y="157"/>
                    </a:cubicBezTo>
                    <a:cubicBezTo>
                      <a:pt x="185" y="134"/>
                      <a:pt x="164" y="127"/>
                      <a:pt x="155" y="124"/>
                    </a:cubicBezTo>
                    <a:close/>
                    <a:moveTo>
                      <a:pt x="109" y="128"/>
                    </a:moveTo>
                    <a:cubicBezTo>
                      <a:pt x="109" y="128"/>
                      <a:pt x="92" y="124"/>
                      <a:pt x="92" y="106"/>
                    </a:cubicBezTo>
                    <a:cubicBezTo>
                      <a:pt x="92" y="91"/>
                      <a:pt x="99" y="85"/>
                      <a:pt x="102" y="82"/>
                    </a:cubicBezTo>
                    <a:cubicBezTo>
                      <a:pt x="102" y="82"/>
                      <a:pt x="108" y="77"/>
                      <a:pt x="104" y="61"/>
                    </a:cubicBezTo>
                    <a:cubicBezTo>
                      <a:pt x="110" y="53"/>
                      <a:pt x="111" y="38"/>
                      <a:pt x="105" y="22"/>
                    </a:cubicBezTo>
                    <a:cubicBezTo>
                      <a:pt x="100" y="12"/>
                      <a:pt x="96" y="7"/>
                      <a:pt x="91" y="3"/>
                    </a:cubicBezTo>
                    <a:cubicBezTo>
                      <a:pt x="87" y="1"/>
                      <a:pt x="82" y="0"/>
                      <a:pt x="77" y="0"/>
                    </a:cubicBezTo>
                    <a:cubicBezTo>
                      <a:pt x="69" y="0"/>
                      <a:pt x="60" y="3"/>
                      <a:pt x="57" y="5"/>
                    </a:cubicBezTo>
                    <a:cubicBezTo>
                      <a:pt x="47" y="10"/>
                      <a:pt x="41" y="13"/>
                      <a:pt x="35" y="28"/>
                    </a:cubicBezTo>
                    <a:cubicBezTo>
                      <a:pt x="30" y="40"/>
                      <a:pt x="36" y="54"/>
                      <a:pt x="39" y="61"/>
                    </a:cubicBezTo>
                    <a:cubicBezTo>
                      <a:pt x="35" y="76"/>
                      <a:pt x="41" y="82"/>
                      <a:pt x="41" y="82"/>
                    </a:cubicBezTo>
                    <a:cubicBezTo>
                      <a:pt x="43" y="85"/>
                      <a:pt x="50" y="91"/>
                      <a:pt x="50" y="106"/>
                    </a:cubicBezTo>
                    <a:cubicBezTo>
                      <a:pt x="50" y="124"/>
                      <a:pt x="33" y="128"/>
                      <a:pt x="33" y="128"/>
                    </a:cubicBezTo>
                    <a:cubicBezTo>
                      <a:pt x="22" y="132"/>
                      <a:pt x="0" y="140"/>
                      <a:pt x="0" y="165"/>
                    </a:cubicBezTo>
                    <a:cubicBezTo>
                      <a:pt x="0" y="165"/>
                      <a:pt x="0" y="169"/>
                      <a:pt x="4" y="169"/>
                    </a:cubicBezTo>
                    <a:cubicBezTo>
                      <a:pt x="139" y="169"/>
                      <a:pt x="139" y="169"/>
                      <a:pt x="139" y="169"/>
                    </a:cubicBezTo>
                    <a:cubicBezTo>
                      <a:pt x="143" y="169"/>
                      <a:pt x="143" y="165"/>
                      <a:pt x="143" y="165"/>
                    </a:cubicBezTo>
                    <a:cubicBezTo>
                      <a:pt x="143" y="140"/>
                      <a:pt x="120" y="132"/>
                      <a:pt x="109" y="128"/>
                    </a:cubicBezTo>
                    <a:close/>
                    <a:moveTo>
                      <a:pt x="8" y="161"/>
                    </a:moveTo>
                    <a:cubicBezTo>
                      <a:pt x="10" y="146"/>
                      <a:pt x="23" y="140"/>
                      <a:pt x="36" y="136"/>
                    </a:cubicBezTo>
                    <a:cubicBezTo>
                      <a:pt x="44" y="134"/>
                      <a:pt x="59" y="125"/>
                      <a:pt x="59" y="106"/>
                    </a:cubicBezTo>
                    <a:cubicBezTo>
                      <a:pt x="59" y="90"/>
                      <a:pt x="52" y="82"/>
                      <a:pt x="49" y="78"/>
                    </a:cubicBezTo>
                    <a:cubicBezTo>
                      <a:pt x="48" y="78"/>
                      <a:pt x="48" y="77"/>
                      <a:pt x="47" y="77"/>
                    </a:cubicBezTo>
                    <a:cubicBezTo>
                      <a:pt x="47" y="77"/>
                      <a:pt x="47" y="76"/>
                      <a:pt x="47" y="76"/>
                    </a:cubicBezTo>
                    <a:cubicBezTo>
                      <a:pt x="47" y="76"/>
                      <a:pt x="45" y="72"/>
                      <a:pt x="47" y="63"/>
                    </a:cubicBezTo>
                    <a:cubicBezTo>
                      <a:pt x="48" y="61"/>
                      <a:pt x="48" y="59"/>
                      <a:pt x="47" y="57"/>
                    </a:cubicBezTo>
                    <a:cubicBezTo>
                      <a:pt x="45" y="53"/>
                      <a:pt x="39" y="40"/>
                      <a:pt x="43" y="31"/>
                    </a:cubicBezTo>
                    <a:cubicBezTo>
                      <a:pt x="48" y="19"/>
                      <a:pt x="52" y="17"/>
                      <a:pt x="60" y="13"/>
                    </a:cubicBezTo>
                    <a:cubicBezTo>
                      <a:pt x="61" y="13"/>
                      <a:pt x="61" y="13"/>
                      <a:pt x="62" y="12"/>
                    </a:cubicBezTo>
                    <a:cubicBezTo>
                      <a:pt x="64" y="11"/>
                      <a:pt x="70" y="9"/>
                      <a:pt x="77" y="9"/>
                    </a:cubicBezTo>
                    <a:cubicBezTo>
                      <a:pt x="81" y="9"/>
                      <a:pt x="84" y="9"/>
                      <a:pt x="87" y="11"/>
                    </a:cubicBezTo>
                    <a:cubicBezTo>
                      <a:pt x="90" y="13"/>
                      <a:pt x="93" y="16"/>
                      <a:pt x="97" y="25"/>
                    </a:cubicBezTo>
                    <a:cubicBezTo>
                      <a:pt x="103" y="39"/>
                      <a:pt x="101" y="51"/>
                      <a:pt x="97" y="56"/>
                    </a:cubicBezTo>
                    <a:cubicBezTo>
                      <a:pt x="96" y="58"/>
                      <a:pt x="95" y="61"/>
                      <a:pt x="96" y="63"/>
                    </a:cubicBezTo>
                    <a:cubicBezTo>
                      <a:pt x="98" y="72"/>
                      <a:pt x="96" y="75"/>
                      <a:pt x="96" y="76"/>
                    </a:cubicBezTo>
                    <a:cubicBezTo>
                      <a:pt x="96" y="76"/>
                      <a:pt x="95" y="76"/>
                      <a:pt x="95" y="77"/>
                    </a:cubicBezTo>
                    <a:cubicBezTo>
                      <a:pt x="95" y="77"/>
                      <a:pt x="94" y="78"/>
                      <a:pt x="94" y="78"/>
                    </a:cubicBezTo>
                    <a:cubicBezTo>
                      <a:pt x="90" y="82"/>
                      <a:pt x="84" y="90"/>
                      <a:pt x="84" y="106"/>
                    </a:cubicBezTo>
                    <a:cubicBezTo>
                      <a:pt x="84" y="125"/>
                      <a:pt x="99" y="134"/>
                      <a:pt x="107" y="136"/>
                    </a:cubicBezTo>
                    <a:cubicBezTo>
                      <a:pt x="119" y="140"/>
                      <a:pt x="132" y="146"/>
                      <a:pt x="134" y="161"/>
                    </a:cubicBezTo>
                    <a:lnTo>
                      <a:pt x="8" y="161"/>
                    </a:lnTo>
                    <a:close/>
                  </a:path>
                </a:pathLst>
              </a:custGeom>
              <a:solidFill>
                <a:srgbClr val="AEB7C7"/>
              </a:solidFill>
              <a:ln>
                <a:noFill/>
              </a:ln>
            </p:spPr>
            <p:txBody>
              <a:bodyPr vert="horz" wrap="square" lIns="68580" tIns="34290" rIns="68580" bIns="34290" numCol="1" anchor="t" anchorCtr="0" compatLnSpc="1">
                <a:prstTxWarp prst="textNoShape">
                  <a:avLst/>
                </a:prstTxWarp>
              </a:bodyPr>
              <a:lstStyle/>
              <a:p>
                <a:pPr algn="ctr" defTabSz="457200">
                  <a:defRPr/>
                </a:pPr>
                <a:endParaRPr lang="en-US" sz="1350" kern="0">
                  <a:solidFill>
                    <a:srgbClr val="000000"/>
                  </a:solidFill>
                  <a:latin typeface="Calibri"/>
                  <a:sym typeface="Helvetica Neue"/>
                </a:endParaRPr>
              </a:p>
            </p:txBody>
          </p:sp>
          <p:sp>
            <p:nvSpPr>
              <p:cNvPr id="41" name="Freeform 31">
                <a:extLst>
                  <a:ext uri="{FF2B5EF4-FFF2-40B4-BE49-F238E27FC236}">
                    <a16:creationId xmlns:a16="http://schemas.microsoft.com/office/drawing/2014/main" id="{B3841B46-7EA9-58A3-AC97-9937CE71488E}"/>
                  </a:ext>
                </a:extLst>
              </p:cNvPr>
              <p:cNvSpPr>
                <a:spLocks noEditPoints="1"/>
              </p:cNvSpPr>
              <p:nvPr/>
            </p:nvSpPr>
            <p:spPr bwMode="auto">
              <a:xfrm>
                <a:off x="7233973" y="3280519"/>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2" name="Freeform 31">
                <a:extLst>
                  <a:ext uri="{FF2B5EF4-FFF2-40B4-BE49-F238E27FC236}">
                    <a16:creationId xmlns:a16="http://schemas.microsoft.com/office/drawing/2014/main" id="{A01887E2-DB43-A85A-E45D-EB3EAF8CB794}"/>
                  </a:ext>
                </a:extLst>
              </p:cNvPr>
              <p:cNvSpPr>
                <a:spLocks noEditPoints="1"/>
              </p:cNvSpPr>
              <p:nvPr/>
            </p:nvSpPr>
            <p:spPr bwMode="auto">
              <a:xfrm>
                <a:off x="17174171" y="2070825"/>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sp>
            <p:nvSpPr>
              <p:cNvPr id="43" name="Left Bracket 42">
                <a:extLst>
                  <a:ext uri="{FF2B5EF4-FFF2-40B4-BE49-F238E27FC236}">
                    <a16:creationId xmlns:a16="http://schemas.microsoft.com/office/drawing/2014/main" id="{9F3BD1BD-B88F-F144-998F-1052D7057B3F}"/>
                  </a:ext>
                </a:extLst>
              </p:cNvPr>
              <p:cNvSpPr/>
              <p:nvPr/>
            </p:nvSpPr>
            <p:spPr>
              <a:xfrm>
                <a:off x="13530802" y="3366787"/>
                <a:ext cx="159053" cy="2398250"/>
              </a:xfrm>
              <a:prstGeom prst="leftBracket">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412750" hangingPunct="0">
                  <a:defRPr/>
                </a:pPr>
                <a:endParaRPr lang="en-NL" sz="1500" b="1" kern="0">
                  <a:solidFill>
                    <a:srgbClr val="FFFFFF"/>
                  </a:solidFill>
                  <a:latin typeface="Segoe UI"/>
                  <a:sym typeface="Helvetica Neue"/>
                </a:endParaRPr>
              </a:p>
            </p:txBody>
          </p:sp>
          <p:cxnSp>
            <p:nvCxnSpPr>
              <p:cNvPr id="46" name="Straight Connector 45">
                <a:extLst>
                  <a:ext uri="{FF2B5EF4-FFF2-40B4-BE49-F238E27FC236}">
                    <a16:creationId xmlns:a16="http://schemas.microsoft.com/office/drawing/2014/main" id="{0AA3653E-E685-63BF-0FEC-E8504F4550B0}"/>
                  </a:ext>
                </a:extLst>
              </p:cNvPr>
              <p:cNvCxnSpPr>
                <a:cxnSpLocks/>
              </p:cNvCxnSpPr>
              <p:nvPr/>
            </p:nvCxnSpPr>
            <p:spPr>
              <a:xfrm flipH="1">
                <a:off x="13572228" y="336678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91C2567-F649-29E6-8BFD-7083D9191182}"/>
                  </a:ext>
                </a:extLst>
              </p:cNvPr>
              <p:cNvSpPr/>
              <p:nvPr/>
            </p:nvSpPr>
            <p:spPr>
              <a:xfrm rot="18848589">
                <a:off x="13357772" y="32264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48" name="TextBox 47">
                <a:extLst>
                  <a:ext uri="{FF2B5EF4-FFF2-40B4-BE49-F238E27FC236}">
                    <a16:creationId xmlns:a16="http://schemas.microsoft.com/office/drawing/2014/main" id="{8652059F-3421-EDDC-2A7B-A3DC33C40612}"/>
                  </a:ext>
                </a:extLst>
              </p:cNvPr>
              <p:cNvSpPr txBox="1"/>
              <p:nvPr/>
            </p:nvSpPr>
            <p:spPr>
              <a:xfrm>
                <a:off x="12874708" y="26340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Yes</a:t>
                </a:r>
              </a:p>
            </p:txBody>
          </p:sp>
          <p:sp>
            <p:nvSpPr>
              <p:cNvPr id="49" name="Rectangle 48">
                <a:extLst>
                  <a:ext uri="{FF2B5EF4-FFF2-40B4-BE49-F238E27FC236}">
                    <a16:creationId xmlns:a16="http://schemas.microsoft.com/office/drawing/2014/main" id="{6CB49363-747D-1DD1-DFB4-40CA222610EA}"/>
                  </a:ext>
                </a:extLst>
              </p:cNvPr>
              <p:cNvSpPr/>
              <p:nvPr/>
            </p:nvSpPr>
            <p:spPr>
              <a:xfrm rot="18848589">
                <a:off x="17628061" y="316742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3" name="Freeform 31">
                <a:extLst>
                  <a:ext uri="{FF2B5EF4-FFF2-40B4-BE49-F238E27FC236}">
                    <a16:creationId xmlns:a16="http://schemas.microsoft.com/office/drawing/2014/main" id="{E5C9A0ED-F917-8D46-79B2-345A4770811A}"/>
                  </a:ext>
                </a:extLst>
              </p:cNvPr>
              <p:cNvSpPr>
                <a:spLocks noEditPoints="1"/>
              </p:cNvSpPr>
              <p:nvPr/>
            </p:nvSpPr>
            <p:spPr bwMode="auto">
              <a:xfrm>
                <a:off x="11070446" y="3260923"/>
                <a:ext cx="874800" cy="828000"/>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57565A"/>
              </a:solidFill>
              <a:ln>
                <a:solidFill>
                  <a:schemeClr val="tx1"/>
                </a:solidFill>
              </a:ln>
            </p:spPr>
            <p:txBody>
              <a:bodyPr vert="horz" wrap="square" lIns="45720" tIns="22860" rIns="45720" bIns="22860" numCol="1" anchor="t" anchorCtr="0" compatLnSpc="1">
                <a:prstTxWarp prst="textNoShape">
                  <a:avLst/>
                </a:prstTxWarp>
              </a:bodyPr>
              <a:lstStyle/>
              <a:p>
                <a:pPr algn="ctr" defTabSz="412750" hangingPunct="0">
                  <a:defRPr/>
                </a:pPr>
                <a:endParaRPr lang="en-US" sz="1500" b="1" kern="0">
                  <a:solidFill>
                    <a:srgbClr val="000000"/>
                  </a:solidFill>
                  <a:latin typeface="Helvetica Neue"/>
                  <a:sym typeface="Helvetica Neue"/>
                </a:endParaRPr>
              </a:p>
            </p:txBody>
          </p:sp>
          <p:grpSp>
            <p:nvGrpSpPr>
              <p:cNvPr id="54" name="Group 53">
                <a:extLst>
                  <a:ext uri="{FF2B5EF4-FFF2-40B4-BE49-F238E27FC236}">
                    <a16:creationId xmlns:a16="http://schemas.microsoft.com/office/drawing/2014/main" id="{FADACBB9-E547-6A04-4B26-06BB8EF8CC48}"/>
                  </a:ext>
                </a:extLst>
              </p:cNvPr>
              <p:cNvGrpSpPr/>
              <p:nvPr/>
            </p:nvGrpSpPr>
            <p:grpSpPr>
              <a:xfrm>
                <a:off x="9870492" y="5241786"/>
                <a:ext cx="3598950" cy="1725834"/>
                <a:chOff x="7131398" y="2824472"/>
                <a:chExt cx="1799475" cy="862917"/>
              </a:xfrm>
            </p:grpSpPr>
            <p:sp>
              <p:nvSpPr>
                <p:cNvPr id="55" name="TextBox 54">
                  <a:extLst>
                    <a:ext uri="{FF2B5EF4-FFF2-40B4-BE49-F238E27FC236}">
                      <a16:creationId xmlns:a16="http://schemas.microsoft.com/office/drawing/2014/main" id="{87844279-E442-ABE3-FF1C-D02729ED4A41}"/>
                    </a:ext>
                  </a:extLst>
                </p:cNvPr>
                <p:cNvSpPr txBox="1"/>
                <p:nvPr/>
              </p:nvSpPr>
              <p:spPr>
                <a:xfrm>
                  <a:off x="7338485" y="2998611"/>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Query internal systems if POD exists  </a:t>
                  </a:r>
                </a:p>
              </p:txBody>
            </p:sp>
            <p:sp>
              <p:nvSpPr>
                <p:cNvPr id="56" name="TextBox 55">
                  <a:extLst>
                    <a:ext uri="{FF2B5EF4-FFF2-40B4-BE49-F238E27FC236}">
                      <a16:creationId xmlns:a16="http://schemas.microsoft.com/office/drawing/2014/main" id="{75D25392-FB2B-5347-83CE-939D6021C586}"/>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sp>
            <p:nvSpPr>
              <p:cNvPr id="57" name="Rectangle 56">
                <a:extLst>
                  <a:ext uri="{FF2B5EF4-FFF2-40B4-BE49-F238E27FC236}">
                    <a16:creationId xmlns:a16="http://schemas.microsoft.com/office/drawing/2014/main" id="{096A46B2-D2F7-4822-283C-5A5FC72CDD67}"/>
                  </a:ext>
                </a:extLst>
              </p:cNvPr>
              <p:cNvSpPr/>
              <p:nvPr/>
            </p:nvSpPr>
            <p:spPr>
              <a:xfrm rot="18848589">
                <a:off x="13367932" y="5614026"/>
                <a:ext cx="370972" cy="370972"/>
              </a:xfrm>
              <a:prstGeom prst="rect">
                <a:avLst/>
              </a:prstGeom>
              <a:solidFill>
                <a:srgbClr val="B4C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sp>
            <p:nvSpPr>
              <p:cNvPr id="58" name="TextBox 57">
                <a:extLst>
                  <a:ext uri="{FF2B5EF4-FFF2-40B4-BE49-F238E27FC236}">
                    <a16:creationId xmlns:a16="http://schemas.microsoft.com/office/drawing/2014/main" id="{31D97E0A-D9DF-D5BE-BD51-A44E668CF29C}"/>
                  </a:ext>
                </a:extLst>
              </p:cNvPr>
              <p:cNvSpPr txBox="1"/>
              <p:nvPr/>
            </p:nvSpPr>
            <p:spPr>
              <a:xfrm>
                <a:off x="12944578" y="6161630"/>
                <a:ext cx="1296458" cy="52322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No</a:t>
                </a:r>
              </a:p>
            </p:txBody>
          </p:sp>
          <p:grpSp>
            <p:nvGrpSpPr>
              <p:cNvPr id="59" name="Group 58">
                <a:extLst>
                  <a:ext uri="{FF2B5EF4-FFF2-40B4-BE49-F238E27FC236}">
                    <a16:creationId xmlns:a16="http://schemas.microsoft.com/office/drawing/2014/main" id="{AC651EB2-CD72-16B5-1293-5DF41A4FFEA4}"/>
                  </a:ext>
                </a:extLst>
              </p:cNvPr>
              <p:cNvGrpSpPr/>
              <p:nvPr/>
            </p:nvGrpSpPr>
            <p:grpSpPr>
              <a:xfrm>
                <a:off x="17956656" y="5222823"/>
                <a:ext cx="3598950" cy="1770222"/>
                <a:chOff x="7131398" y="2824472"/>
                <a:chExt cx="1799475" cy="885111"/>
              </a:xfrm>
            </p:grpSpPr>
            <p:sp>
              <p:nvSpPr>
                <p:cNvPr id="60" name="TextBox 59">
                  <a:extLst>
                    <a:ext uri="{FF2B5EF4-FFF2-40B4-BE49-F238E27FC236}">
                      <a16:creationId xmlns:a16="http://schemas.microsoft.com/office/drawing/2014/main" id="{494CF0A4-052E-077F-830A-825215B1CFCC}"/>
                    </a:ext>
                  </a:extLst>
                </p:cNvPr>
                <p:cNvSpPr txBox="1"/>
                <p:nvPr/>
              </p:nvSpPr>
              <p:spPr>
                <a:xfrm>
                  <a:off x="7468783" y="3020805"/>
                  <a:ext cx="1296420" cy="688778"/>
                </a:xfrm>
                <a:prstGeom prst="rect">
                  <a:avLst/>
                </a:prstGeom>
                <a:noFill/>
              </p:spPr>
              <p:txBody>
                <a:bodyPr wrap="square" rtlCol="0">
                  <a:spAutoFit/>
                </a:bodyPr>
                <a:lstStyle>
                  <a:defPPr>
                    <a:defRPr lang="en-US"/>
                  </a:defPPr>
                  <a:lvl1pPr marL="171450" indent="-171450">
                    <a:lnSpc>
                      <a:spcPct val="150000"/>
                    </a:lnSpc>
                    <a:buFont typeface="Arial" panose="020B0604020202020204" pitchFamily="34" charset="0"/>
                    <a:buChar char="•"/>
                    <a:defRPr sz="1100">
                      <a:solidFill>
                        <a:schemeClr val="bg1"/>
                      </a:solidFill>
                      <a:latin typeface="Century Gothic" panose="020B0502020202020204" pitchFamily="34" charset="0"/>
                    </a:defRPr>
                  </a:lvl1pPr>
                </a:lstStyle>
                <a:p>
                  <a:pPr marL="0" indent="0" algn="ctr" defTabSz="412750" hangingPunct="0">
                    <a:buNone/>
                    <a:defRPr/>
                  </a:pPr>
                  <a:r>
                    <a:rPr lang="en-US" sz="900" b="1" kern="0">
                      <a:solidFill>
                        <a:srgbClr val="BBC6D9"/>
                      </a:solidFill>
                      <a:sym typeface="Helvetica Neue"/>
                    </a:rPr>
                    <a:t>Initiate contact with the carrier to request the POD</a:t>
                  </a:r>
                </a:p>
              </p:txBody>
            </p:sp>
            <p:sp>
              <p:nvSpPr>
                <p:cNvPr id="61" name="TextBox 60">
                  <a:extLst>
                    <a:ext uri="{FF2B5EF4-FFF2-40B4-BE49-F238E27FC236}">
                      <a16:creationId xmlns:a16="http://schemas.microsoft.com/office/drawing/2014/main" id="{138DC6FD-8E66-F929-9F58-A3726346BDA7}"/>
                    </a:ext>
                  </a:extLst>
                </p:cNvPr>
                <p:cNvSpPr txBox="1"/>
                <p:nvPr/>
              </p:nvSpPr>
              <p:spPr>
                <a:xfrm>
                  <a:off x="7131398" y="2824472"/>
                  <a:ext cx="1799475" cy="261610"/>
                </a:xfrm>
                <a:prstGeom prst="rect">
                  <a:avLst/>
                </a:prstGeom>
                <a:noFill/>
              </p:spPr>
              <p:txBody>
                <a:bodyPr wrap="square" rtlCol="0">
                  <a:spAutoFit/>
                </a:bodyPr>
                <a:lstStyle/>
                <a:p>
                  <a:pPr algn="ctr" defTabSz="412750" hangingPunct="0">
                    <a:defRPr/>
                  </a:pPr>
                  <a:r>
                    <a:rPr lang="en-US" sz="1100" b="1" kern="0">
                      <a:solidFill>
                        <a:srgbClr val="FFFFFF"/>
                      </a:solidFill>
                      <a:latin typeface="Century Gothic" panose="020B0502020202020204" pitchFamily="34" charset="0"/>
                      <a:sym typeface="Helvetica Neue"/>
                    </a:rPr>
                    <a:t>Human Agent</a:t>
                  </a:r>
                </a:p>
              </p:txBody>
            </p:sp>
          </p:grpSp>
          <p:cxnSp>
            <p:nvCxnSpPr>
              <p:cNvPr id="62" name="Straight Connector 61">
                <a:extLst>
                  <a:ext uri="{FF2B5EF4-FFF2-40B4-BE49-F238E27FC236}">
                    <a16:creationId xmlns:a16="http://schemas.microsoft.com/office/drawing/2014/main" id="{49DB8EE7-25C2-9475-F848-EEC2361B3F9A}"/>
                  </a:ext>
                </a:extLst>
              </p:cNvPr>
              <p:cNvCxnSpPr>
                <a:cxnSpLocks/>
              </p:cNvCxnSpPr>
              <p:nvPr/>
            </p:nvCxnSpPr>
            <p:spPr>
              <a:xfrm flipH="1">
                <a:off x="13785588" y="5774707"/>
                <a:ext cx="3999353" cy="652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43EFA4A0-DEAE-1E7C-9855-3AB6C4293E5D}"/>
                  </a:ext>
                </a:extLst>
              </p:cNvPr>
              <p:cNvSpPr/>
              <p:nvPr/>
            </p:nvSpPr>
            <p:spPr>
              <a:xfrm rot="18848589">
                <a:off x="17841421" y="5575349"/>
                <a:ext cx="370972" cy="37097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Open Sans"/>
                  <a:sym typeface="Helvetica Neue"/>
                </a:endParaRPr>
              </a:p>
            </p:txBody>
          </p:sp>
          <p:pic>
            <p:nvPicPr>
              <p:cNvPr id="64" name="Picture 63">
                <a:extLst>
                  <a:ext uri="{FF2B5EF4-FFF2-40B4-BE49-F238E27FC236}">
                    <a16:creationId xmlns:a16="http://schemas.microsoft.com/office/drawing/2014/main" id="{4207F0E4-649C-431E-EEA6-B4FBF4CAA82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95690" y="4662769"/>
                <a:ext cx="1456964" cy="828000"/>
              </a:xfrm>
              <a:prstGeom prst="rect">
                <a:avLst/>
              </a:prstGeom>
            </p:spPr>
          </p:pic>
        </p:grpSp>
      </p:grpSp>
      <p:sp>
        <p:nvSpPr>
          <p:cNvPr id="4" name="TextBox 3">
            <a:extLst>
              <a:ext uri="{FF2B5EF4-FFF2-40B4-BE49-F238E27FC236}">
                <a16:creationId xmlns:a16="http://schemas.microsoft.com/office/drawing/2014/main" id="{32BBFBA8-0148-B4A0-25D0-847D3255A349}"/>
              </a:ext>
            </a:extLst>
          </p:cNvPr>
          <p:cNvSpPr txBox="1"/>
          <p:nvPr/>
        </p:nvSpPr>
        <p:spPr>
          <a:xfrm>
            <a:off x="82297" y="98004"/>
            <a:ext cx="1161274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lvl="1" defTabSz="412750" hangingPunct="0">
              <a:lnSpc>
                <a:spcPts val="3150"/>
              </a:lnSpc>
              <a:defRPr/>
            </a:pPr>
            <a:r>
              <a:rPr lang="en-US" sz="3000" b="1"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SE5: </a:t>
            </a:r>
            <a:r>
              <a:rPr lang="en-US" sz="3000" kern="0">
                <a:solidFill>
                  <a:srgbClr val="FFFFFF"/>
                </a:solidFill>
                <a:latin typeface="Roboto" panose="02000000000000000000" pitchFamily="2" charset="0"/>
                <a:ea typeface="Roboto" panose="02000000000000000000" pitchFamily="2" charset="0"/>
                <a:cs typeface="Roboto" panose="02000000000000000000" pitchFamily="2" charset="0"/>
                <a:sym typeface="Helvetica Neue"/>
              </a:rPr>
              <a:t>Example of scenarios: </a:t>
            </a:r>
            <a:r>
              <a:rPr lang="en-US" sz="3000" kern="0">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Autonomous Agents</a:t>
            </a:r>
          </a:p>
        </p:txBody>
      </p:sp>
      <p:sp>
        <p:nvSpPr>
          <p:cNvPr id="5" name="TextBox 4">
            <a:extLst>
              <a:ext uri="{FF2B5EF4-FFF2-40B4-BE49-F238E27FC236}">
                <a16:creationId xmlns:a16="http://schemas.microsoft.com/office/drawing/2014/main" id="{53289436-1D79-0CA1-1A74-11EDA57B75BD}"/>
              </a:ext>
            </a:extLst>
          </p:cNvPr>
          <p:cNvSpPr txBox="1"/>
          <p:nvPr/>
        </p:nvSpPr>
        <p:spPr>
          <a:xfrm>
            <a:off x="583762" y="535511"/>
            <a:ext cx="10921398" cy="369332"/>
          </a:xfrm>
          <a:prstGeom prst="rect">
            <a:avLst/>
          </a:prstGeom>
          <a:noFill/>
        </p:spPr>
        <p:txBody>
          <a:bodyPr wrap="square">
            <a:spAutoFit/>
          </a:bodyPr>
          <a:lstStyle/>
          <a:p>
            <a:pPr algn="ctr">
              <a:defRPr/>
            </a:pP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Current proof of delivery (</a:t>
            </a:r>
            <a:r>
              <a:rPr lang="en-US">
                <a:solidFill>
                  <a:srgbClr val="0078D4">
                    <a:lumMod val="60000"/>
                    <a:lumOff val="40000"/>
                  </a:srgbClr>
                </a:solidFill>
                <a:latin typeface="Roboto" panose="02000000000000000000" pitchFamily="2" charset="0"/>
                <a:ea typeface="Roboto" panose="02000000000000000000" pitchFamily="2" charset="0"/>
                <a:cs typeface="Roboto" panose="02000000000000000000" pitchFamily="2" charset="0"/>
                <a:sym typeface="Helvetica Neue"/>
              </a:rPr>
              <a:t>POD Badger</a:t>
            </a:r>
            <a:r>
              <a:rPr lang="en-US">
                <a:solidFill>
                  <a:srgbClr val="FFFFFF">
                    <a:lumMod val="95000"/>
                  </a:srgbClr>
                </a:solidFill>
                <a:latin typeface="Roboto" panose="02000000000000000000" pitchFamily="2" charset="0"/>
                <a:ea typeface="Roboto" panose="02000000000000000000" pitchFamily="2" charset="0"/>
                <a:cs typeface="Roboto" panose="02000000000000000000" pitchFamily="2" charset="0"/>
                <a:sym typeface="Helvetica Neue"/>
              </a:rPr>
              <a:t>)</a:t>
            </a:r>
          </a:p>
        </p:txBody>
      </p:sp>
    </p:spTree>
    <p:extLst>
      <p:ext uri="{BB962C8B-B14F-4D97-AF65-F5344CB8AC3E}">
        <p14:creationId xmlns:p14="http://schemas.microsoft.com/office/powerpoint/2010/main" val="18239550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MG Master - March 2021">
  <a:themeElements>
    <a:clrScheme name="Eneco">
      <a:dk1>
        <a:srgbClr val="2C2C2D"/>
      </a:dk1>
      <a:lt1>
        <a:srgbClr val="FFFFFF"/>
      </a:lt1>
      <a:dk2>
        <a:srgbClr val="2C2C2D"/>
      </a:dk2>
      <a:lt2>
        <a:srgbClr val="DCDEE0"/>
      </a:lt2>
      <a:accent1>
        <a:srgbClr val="6894A0"/>
      </a:accent1>
      <a:accent2>
        <a:srgbClr val="D31442"/>
      </a:accent2>
      <a:accent3>
        <a:srgbClr val="F1813C"/>
      </a:accent3>
      <a:accent4>
        <a:srgbClr val="09354B"/>
      </a:accent4>
      <a:accent5>
        <a:srgbClr val="70AD47"/>
      </a:accent5>
      <a:accent6>
        <a:srgbClr val="FFC611"/>
      </a:accent6>
      <a:hlink>
        <a:srgbClr val="0D3F93"/>
      </a:hlink>
      <a:folHlink>
        <a:srgbClr val="954F72"/>
      </a:folHlink>
    </a:clrScheme>
    <a:fontScheme name="Verdana">
      <a:majorFont>
        <a:latin typeface="Verdana"/>
        <a:ea typeface=""/>
        <a:cs typeface=""/>
      </a:majorFont>
      <a:minorFont>
        <a:latin typeface="Verdan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buClr>
            <a:schemeClr val="accent1"/>
          </a:buClr>
          <a:defRPr sz="1400" dirty="0" err="1" smtClean="0">
            <a:latin typeface="+mj-lt"/>
          </a:defRPr>
        </a:defPPr>
      </a:lstStyle>
    </a:txDef>
  </a:objectDefaults>
  <a:extraClrSchemeLst/>
  <a:extLst>
    <a:ext uri="{05A4C25C-085E-4340-85A3-A5531E510DB2}">
      <thm15:themeFamily xmlns:thm15="http://schemas.microsoft.com/office/thememl/2012/main" name="Presentation1" id="{7E7E9EF7-3D75-4008-AF1A-378382F2FC73}" vid="{F15EDB94-1E42-467A-9DDD-144DC6C2D1E3}"/>
    </a:ext>
  </a:extLst>
</a:theme>
</file>

<file path=ppt/theme/theme3.xml><?xml version="1.0" encoding="utf-8"?>
<a:theme xmlns:a="http://schemas.openxmlformats.org/drawingml/2006/main" name="Aangepast ontwer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chipholColor2UK.potx" id="{33A51FF4-EA6E-407D-B6E1-85002C729E13}" vid="{BC152FA9-F482-4C21-A502-CCB4C6CFABF5}"/>
    </a:ext>
  </a:extLst>
</a:theme>
</file>

<file path=ppt/theme/theme4.xml><?xml version="1.0" encoding="utf-8"?>
<a:theme xmlns:a="http://schemas.openxmlformats.org/drawingml/2006/main" name="7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5.xml><?xml version="1.0" encoding="utf-8"?>
<a:theme xmlns:a="http://schemas.openxmlformats.org/drawingml/2006/main" name="White Template">
  <a:themeElements>
    <a:clrScheme name="CE&amp;S">
      <a:dk1>
        <a:srgbClr val="000000"/>
      </a:dk1>
      <a:lt1>
        <a:srgbClr val="FFFFFF"/>
      </a:lt1>
      <a:dk2>
        <a:srgbClr val="243A5E"/>
      </a:dk2>
      <a:lt2>
        <a:srgbClr val="F2F2F2"/>
      </a:lt2>
      <a:accent1>
        <a:srgbClr val="50E6FF"/>
      </a:accent1>
      <a:accent2>
        <a:srgbClr val="0078D4"/>
      </a:accent2>
      <a:accent3>
        <a:srgbClr val="2F2F2F"/>
      </a:accent3>
      <a:accent4>
        <a:srgbClr val="D83B01"/>
      </a:accent4>
      <a:accent5>
        <a:srgbClr val="505050"/>
      </a:accent5>
      <a:accent6>
        <a:srgbClr val="054B16"/>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2" id="{3D1A2EA9-4124-E547-8C3B-7291BD6162B4}" vid="{96CC0E67-7C28-F74F-AE85-C0A7BE9A9D05}"/>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7.xml><?xml version="1.0" encoding="utf-8"?>
<a:theme xmlns:a="http://schemas.openxmlformats.org/drawingml/2006/main" name="2_Office Theme">
  <a:themeElements>
    <a:clrScheme name="Blue &amp; Purple">
      <a:dk1>
        <a:sysClr val="windowText" lastClr="000000"/>
      </a:dk1>
      <a:lt1>
        <a:sysClr val="window" lastClr="FFFFFF"/>
      </a:lt1>
      <a:dk2>
        <a:srgbClr val="44546A"/>
      </a:dk2>
      <a:lt2>
        <a:srgbClr val="E7E6E6"/>
      </a:lt2>
      <a:accent1>
        <a:srgbClr val="013A81"/>
      </a:accent1>
      <a:accent2>
        <a:srgbClr val="0859A3"/>
      </a:accent2>
      <a:accent3>
        <a:srgbClr val="009DDC"/>
      </a:accent3>
      <a:accent4>
        <a:srgbClr val="81317F"/>
      </a:accent4>
      <a:accent5>
        <a:srgbClr val="A13D9F"/>
      </a:accent5>
      <a:accent6>
        <a:srgbClr val="C464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915</TotalTime>
  <Words>1645</Words>
  <Application>Microsoft Office PowerPoint</Application>
  <PresentationFormat>Widescreen</PresentationFormat>
  <Paragraphs>244</Paragraphs>
  <Slides>20</Slides>
  <Notes>13</Notes>
  <HiddenSlides>0</HiddenSlides>
  <MMClips>1</MMClips>
  <ScaleCrop>false</ScaleCrop>
  <HeadingPairs>
    <vt:vector size="8" baseType="variant">
      <vt:variant>
        <vt:lpstr>Fonts Used</vt:lpstr>
      </vt:variant>
      <vt:variant>
        <vt:i4>20</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49" baseType="lpstr">
      <vt:lpstr>Aptos</vt:lpstr>
      <vt:lpstr>Aptos Display</vt:lpstr>
      <vt:lpstr>Arial</vt:lpstr>
      <vt:lpstr>Arial Black</vt:lpstr>
      <vt:lpstr>Calibri</vt:lpstr>
      <vt:lpstr>Calibri Light</vt:lpstr>
      <vt:lpstr>Century Gothic</vt:lpstr>
      <vt:lpstr>Consolas</vt:lpstr>
      <vt:lpstr>Etelka Text Pro</vt:lpstr>
      <vt:lpstr>Helvetica Neue</vt:lpstr>
      <vt:lpstr>HelveticaNeueLT Com 45 Lt</vt:lpstr>
      <vt:lpstr>Montserrat SemiBold</vt:lpstr>
      <vt:lpstr>Open Sans</vt:lpstr>
      <vt:lpstr>Radley</vt:lpstr>
      <vt:lpstr>Roboto</vt:lpstr>
      <vt:lpstr>Segoe UI</vt:lpstr>
      <vt:lpstr>Segoe UI Semibold</vt:lpstr>
      <vt:lpstr>Tahoma (Headings)</vt:lpstr>
      <vt:lpstr>Verdana</vt:lpstr>
      <vt:lpstr>Wingdings</vt:lpstr>
      <vt:lpstr>Office Theme</vt:lpstr>
      <vt:lpstr>AMG Master - March 2021</vt:lpstr>
      <vt:lpstr>Aangepast ontwerp</vt:lpstr>
      <vt:lpstr>7_Microsoft Security template</vt:lpstr>
      <vt:lpstr>White Template</vt:lpstr>
      <vt:lpstr>1_Office Theme</vt:lpstr>
      <vt:lpstr>2_Office Theme</vt:lpstr>
      <vt:lpstr>Microsoft Build 16:9 Template Dark</vt:lpstr>
      <vt:lpstr>think-cell Slide</vt:lpstr>
      <vt:lpstr>Azure AI Foundry Masterclass | Build Gen AI apps and copilots</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AI Foundry</vt:lpstr>
      <vt:lpstr>Purpose of Azure AI Foundry</vt:lpstr>
      <vt:lpstr>Features of Azure AI Foundry</vt:lpstr>
      <vt:lpstr>PowerPoint Presentation</vt:lpstr>
      <vt:lpstr>Azure AI Foundry Architecture </vt:lpstr>
      <vt:lpstr>Azure AI Foundry Architecture </vt:lpstr>
      <vt:lpstr>Azure AI Foundry Architectur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zde Sayin</dc:creator>
  <cp:lastModifiedBy>Hicham Zmarrou</cp:lastModifiedBy>
  <cp:revision>5</cp:revision>
  <dcterms:created xsi:type="dcterms:W3CDTF">2024-09-06T08:31:44Z</dcterms:created>
  <dcterms:modified xsi:type="dcterms:W3CDTF">2025-01-27T20:44:11Z</dcterms:modified>
</cp:coreProperties>
</file>